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259" r:id="rId5"/>
    <p:sldId id="292" r:id="rId6"/>
    <p:sldId id="302" r:id="rId7"/>
    <p:sldId id="286" r:id="rId8"/>
    <p:sldId id="293" r:id="rId9"/>
    <p:sldId id="295" r:id="rId10"/>
    <p:sldId id="297" r:id="rId11"/>
    <p:sldId id="298" r:id="rId12"/>
    <p:sldId id="299" r:id="rId13"/>
    <p:sldId id="301" r:id="rId14"/>
    <p:sldId id="291" r:id="rId15"/>
    <p:sldId id="288" r:id="rId16"/>
    <p:sldId id="284" r:id="rId17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ern Swiss" id="{FD2B0C0D-84C0-42ED-88AF-E5F83906AE8B}">
          <p14:sldIdLst>
            <p14:sldId id="259"/>
            <p14:sldId id="292"/>
            <p14:sldId id="302"/>
            <p14:sldId id="286"/>
            <p14:sldId id="293"/>
            <p14:sldId id="295"/>
            <p14:sldId id="297"/>
            <p14:sldId id="298"/>
            <p14:sldId id="299"/>
            <p14:sldId id="301"/>
            <p14:sldId id="291"/>
            <p14:sldId id="288"/>
            <p14:sldId id="2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516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LLIVAN, Lindsey" initials="SL" lastIdx="16" clrIdx="0">
    <p:extLst>
      <p:ext uri="{19B8F6BF-5375-455C-9EA6-DF929625EA0E}">
        <p15:presenceInfo xmlns:p15="http://schemas.microsoft.com/office/powerpoint/2012/main" userId="S-1-5-21-1463861888-1148693830-2432142812-16599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60FF"/>
    <a:srgbClr val="BC873A"/>
    <a:srgbClr val="4575B4"/>
    <a:srgbClr val="31CCE8"/>
    <a:srgbClr val="118E97"/>
    <a:srgbClr val="118497"/>
    <a:srgbClr val="17B1CB"/>
    <a:srgbClr val="C1C139"/>
    <a:srgbClr val="A48F52"/>
    <a:srgbClr val="9C97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56" autoAdjust="0"/>
    <p:restoredTop sz="68149" autoAdjust="0"/>
  </p:normalViewPr>
  <p:slideViewPr>
    <p:cSldViewPr snapToGrid="0" snapToObjects="1">
      <p:cViewPr varScale="1">
        <p:scale>
          <a:sx n="74" d="100"/>
          <a:sy n="74" d="100"/>
        </p:scale>
        <p:origin x="2286" y="66"/>
      </p:cViewPr>
      <p:guideLst>
        <p:guide orient="horz" pos="251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4104" y="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06700" cy="3175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B8EB65-FCB1-492D-96F1-1EEFDB36395A}" type="datetimeFigureOut">
              <a:rPr lang="en-US" smtClean="0"/>
              <a:t>2019-01-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B7C37-3688-416D-8869-513F3AB67D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2278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32100" cy="2921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2921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72A57C-5FAA-4E66-BDD9-A79C3D547D7C}" type="datetimeFigureOut">
              <a:rPr lang="en-US" smtClean="0"/>
              <a:t>2019-01-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4286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67259" y="4273550"/>
            <a:ext cx="6061587" cy="52667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9303DE-3E45-4DD3-9505-92EF4803EF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71029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4300" indent="-114300" algn="l" defTabSz="914400" rtl="0" eaLnBrk="1" latinLnBrk="0" hangingPunct="1">
      <a:lnSpc>
        <a:spcPct val="110000"/>
      </a:lnSpc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4300" algn="l" defTabSz="914400" rtl="0" eaLnBrk="1" latinLnBrk="0" hangingPunct="1">
      <a:lnSpc>
        <a:spcPct val="100000"/>
      </a:lnSpc>
      <a:spcBef>
        <a:spcPts val="300"/>
      </a:spcBef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42900" indent="-114300" algn="l" defTabSz="914400" rtl="0" eaLnBrk="1" latinLnBrk="0" hangingPunct="1">
      <a:lnSpc>
        <a:spcPct val="95000"/>
      </a:lnSpc>
      <a:spcBef>
        <a:spcPts val="300"/>
      </a:spcBef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457200" indent="-114300" algn="l" defTabSz="914400" rtl="0" eaLnBrk="1" latinLnBrk="0" hangingPunct="1">
      <a:lnSpc>
        <a:spcPct val="95000"/>
      </a:lnSpc>
      <a:spcBef>
        <a:spcPts val="300"/>
      </a:spcBef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571500" indent="-114300" algn="l" defTabSz="914400" rtl="0" eaLnBrk="1" latinLnBrk="0" hangingPunct="1">
      <a:lnSpc>
        <a:spcPct val="95000"/>
      </a:lnSpc>
      <a:spcBef>
        <a:spcPts val="300"/>
      </a:spcBef>
      <a:buFont typeface="Arial" panose="020B06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2737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01763" y="477838"/>
            <a:ext cx="3883025" cy="2913062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1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45910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90550"/>
            <a:ext cx="3830638" cy="2873375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1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53772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04925" y="736600"/>
            <a:ext cx="4154488" cy="3116263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1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093193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13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8325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</p:spPr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396458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79525" y="506413"/>
            <a:ext cx="4217988" cy="31638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3104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 smtClean="0"/>
          </a:p>
          <a:p>
            <a:fld id="{F19303DE-3E45-4DD3-9505-92EF4803EF97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7276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09080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6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97847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7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56062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602987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0013" y="354013"/>
            <a:ext cx="3946525" cy="2960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303DE-3E45-4DD3-9505-92EF4803EF97}" type="slidenum">
              <a:rPr lang="en-US" smtClean="0"/>
              <a:t>9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09959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358924"/>
            <a:ext cx="4866908" cy="2742289"/>
          </a:xfrm>
        </p:spPr>
        <p:txBody>
          <a:bodyPr/>
          <a:lstStyle>
            <a:lvl1pPr>
              <a:lnSpc>
                <a:spcPct val="90000"/>
              </a:lnSpc>
              <a:defRPr sz="6600" kern="100" cap="all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add </a:t>
            </a:r>
            <a:r>
              <a:rPr lang="en-US" dirty="0" err="1" smtClean="0"/>
              <a:t>slidedoc</a:t>
            </a:r>
            <a:r>
              <a:rPr lang="en-US" dirty="0" smtClean="0"/>
              <a:t> title</a:t>
            </a:r>
            <a:endParaRPr lang="en-US" dirty="0"/>
          </a:p>
        </p:txBody>
      </p:sp>
      <p:sp>
        <p:nvSpPr>
          <p:cNvPr id="60" name="Text Placeholder 59"/>
          <p:cNvSpPr>
            <a:spLocks noGrp="1"/>
          </p:cNvSpPr>
          <p:nvPr>
            <p:ph type="body" sz="quarter" idx="10"/>
          </p:nvPr>
        </p:nvSpPr>
        <p:spPr>
          <a:xfrm>
            <a:off x="457200" y="3496727"/>
            <a:ext cx="1497013" cy="2512484"/>
          </a:xfrm>
        </p:spPr>
        <p:txBody>
          <a:bodyPr anchor="b"/>
          <a:lstStyle>
            <a:lvl1pPr>
              <a:lnSpc>
                <a:spcPct val="100000"/>
              </a:lnSpc>
              <a:defRPr sz="1300">
                <a:solidFill>
                  <a:schemeClr val="tx2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62" name="Straight Connector 61"/>
          <p:cNvCxnSpPr/>
          <p:nvPr userDrawn="1"/>
        </p:nvCxnSpPr>
        <p:spPr>
          <a:xfrm>
            <a:off x="457200" y="6178550"/>
            <a:ext cx="149719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59"/>
          <p:cNvSpPr>
            <a:spLocks noGrp="1"/>
          </p:cNvSpPr>
          <p:nvPr>
            <p:ph type="body" sz="quarter" idx="11"/>
          </p:nvPr>
        </p:nvSpPr>
        <p:spPr>
          <a:xfrm>
            <a:off x="5509344" y="5181598"/>
            <a:ext cx="1497013" cy="1022351"/>
          </a:xfrm>
        </p:spPr>
        <p:txBody>
          <a:bodyPr anchor="b"/>
          <a:lstStyle>
            <a:lvl1pPr algn="r">
              <a:lnSpc>
                <a:spcPct val="100000"/>
              </a:lnSpc>
              <a:defRPr sz="1300" b="1">
                <a:solidFill>
                  <a:schemeClr val="bg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4" name="Text Placeholder 59"/>
          <p:cNvSpPr>
            <a:spLocks noGrp="1"/>
          </p:cNvSpPr>
          <p:nvPr>
            <p:ph type="body" sz="quarter" idx="12"/>
          </p:nvPr>
        </p:nvSpPr>
        <p:spPr>
          <a:xfrm>
            <a:off x="7189787" y="5181598"/>
            <a:ext cx="1497013" cy="1022351"/>
          </a:xfrm>
        </p:spPr>
        <p:txBody>
          <a:bodyPr anchor="b"/>
          <a:lstStyle>
            <a:lvl1pPr algn="r">
              <a:lnSpc>
                <a:spcPct val="100000"/>
              </a:lnSpc>
              <a:defRPr sz="1300" b="1">
                <a:solidFill>
                  <a:schemeClr val="bg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647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48100"/>
            <a:ext cx="4229100" cy="2543773"/>
          </a:xfrm>
        </p:spPr>
        <p:txBody>
          <a:bodyPr>
            <a:spAutoFit/>
          </a:bodyPr>
          <a:lstStyle>
            <a:lvl1pPr>
              <a:defRPr sz="5800" kern="100" spc="-2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106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cxnSp>
          <p:nvCxnSpPr>
            <p:cNvPr id="49" name="Straight Connector 48"/>
            <p:cNvCxnSpPr/>
            <p:nvPr userDrawn="1"/>
          </p:nvCxnSpPr>
          <p:spPr>
            <a:xfrm>
              <a:off x="457200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 userDrawn="1"/>
          </p:nvCxnSpPr>
          <p:spPr>
            <a:xfrm>
              <a:off x="8686800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1113726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1300622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1954396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2143050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 userDrawn="1"/>
          </p:nvCxnSpPr>
          <p:spPr>
            <a:xfrm>
              <a:off x="2796824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2990753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 userDrawn="1"/>
          </p:nvCxnSpPr>
          <p:spPr>
            <a:xfrm>
              <a:off x="3639252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 userDrawn="1"/>
          </p:nvCxnSpPr>
          <p:spPr>
            <a:xfrm>
              <a:off x="3829078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 userDrawn="1"/>
          </p:nvCxnSpPr>
          <p:spPr>
            <a:xfrm>
              <a:off x="4478749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 userDrawn="1"/>
          </p:nvCxnSpPr>
          <p:spPr>
            <a:xfrm>
              <a:off x="4670334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 userDrawn="1"/>
          </p:nvCxnSpPr>
          <p:spPr>
            <a:xfrm>
              <a:off x="5324108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 userDrawn="1"/>
          </p:nvCxnSpPr>
          <p:spPr>
            <a:xfrm>
              <a:off x="5512762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 userDrawn="1"/>
          </p:nvCxnSpPr>
          <p:spPr>
            <a:xfrm>
              <a:off x="6166536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 userDrawn="1"/>
          </p:nvCxnSpPr>
          <p:spPr>
            <a:xfrm>
              <a:off x="6355190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 userDrawn="1"/>
          </p:nvCxnSpPr>
          <p:spPr>
            <a:xfrm>
              <a:off x="7008964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 userDrawn="1"/>
          </p:nvCxnSpPr>
          <p:spPr>
            <a:xfrm>
              <a:off x="7197618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>
              <a:off x="7851392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 userDrawn="1"/>
          </p:nvCxnSpPr>
          <p:spPr>
            <a:xfrm>
              <a:off x="8040049" y="0"/>
              <a:ext cx="0" cy="685800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 userDrawn="1"/>
          </p:nvCxnSpPr>
          <p:spPr>
            <a:xfrm>
              <a:off x="0" y="457200"/>
              <a:ext cx="9144000" cy="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 userDrawn="1"/>
          </p:nvCxnSpPr>
          <p:spPr>
            <a:xfrm>
              <a:off x="0" y="685800"/>
              <a:ext cx="9144000" cy="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 userDrawn="1"/>
          </p:nvCxnSpPr>
          <p:spPr>
            <a:xfrm>
              <a:off x="0" y="6178550"/>
              <a:ext cx="9144000" cy="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 userDrawn="1"/>
          </p:nvCxnSpPr>
          <p:spPr>
            <a:xfrm>
              <a:off x="0" y="6407150"/>
              <a:ext cx="9144000" cy="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 flipH="1">
              <a:off x="0" y="3429000"/>
              <a:ext cx="9144000" cy="0"/>
            </a:xfrm>
            <a:prstGeom prst="line">
              <a:avLst/>
            </a:prstGeom>
            <a:ln>
              <a:solidFill>
                <a:srgbClr val="FF0066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64921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3182052" cy="1228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19870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1"/>
          </p:nvPr>
        </p:nvSpPr>
        <p:spPr>
          <a:xfrm>
            <a:off x="3829050" y="685800"/>
            <a:ext cx="4857750" cy="122802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2" hasCustomPrompt="1"/>
          </p:nvPr>
        </p:nvSpPr>
        <p:spPr>
          <a:xfrm>
            <a:off x="2140347" y="2319870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40" name="Text Placeholder 33"/>
          <p:cNvSpPr>
            <a:spLocks noGrp="1"/>
          </p:cNvSpPr>
          <p:nvPr>
            <p:ph type="body" sz="quarter" idx="13" hasCustomPrompt="1"/>
          </p:nvPr>
        </p:nvSpPr>
        <p:spPr>
          <a:xfrm>
            <a:off x="3823494" y="2319870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42" name="Text Placeholder 33"/>
          <p:cNvSpPr>
            <a:spLocks noGrp="1"/>
          </p:cNvSpPr>
          <p:nvPr>
            <p:ph type="body" sz="quarter" idx="14" hasCustomPrompt="1"/>
          </p:nvPr>
        </p:nvSpPr>
        <p:spPr>
          <a:xfrm>
            <a:off x="5506641" y="2319870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44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7189787" y="2319870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25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457200" y="2228136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26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2140347" y="2228136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23" hasCustomPrompt="1"/>
          </p:nvPr>
        </p:nvSpPr>
        <p:spPr>
          <a:xfrm>
            <a:off x="3823494" y="2228136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24" hasCustomPrompt="1"/>
          </p:nvPr>
        </p:nvSpPr>
        <p:spPr>
          <a:xfrm>
            <a:off x="5506641" y="2228136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25" hasCustomPrompt="1"/>
          </p:nvPr>
        </p:nvSpPr>
        <p:spPr>
          <a:xfrm>
            <a:off x="7189787" y="2228136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71" name="Text Placeholder 33"/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4428069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72" name="Text Placeholder 33"/>
          <p:cNvSpPr>
            <a:spLocks noGrp="1"/>
          </p:cNvSpPr>
          <p:nvPr>
            <p:ph type="body" sz="quarter" idx="32" hasCustomPrompt="1"/>
          </p:nvPr>
        </p:nvSpPr>
        <p:spPr>
          <a:xfrm>
            <a:off x="2140347" y="4428069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73" name="Text Placeholder 33"/>
          <p:cNvSpPr>
            <a:spLocks noGrp="1"/>
          </p:cNvSpPr>
          <p:nvPr>
            <p:ph type="body" sz="quarter" idx="33" hasCustomPrompt="1"/>
          </p:nvPr>
        </p:nvSpPr>
        <p:spPr>
          <a:xfrm>
            <a:off x="3823494" y="4428069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74" name="Text Placeholder 33"/>
          <p:cNvSpPr>
            <a:spLocks noGrp="1"/>
          </p:cNvSpPr>
          <p:nvPr>
            <p:ph type="body" sz="quarter" idx="34" hasCustomPrompt="1"/>
          </p:nvPr>
        </p:nvSpPr>
        <p:spPr>
          <a:xfrm>
            <a:off x="5506641" y="4428069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75" name="Text Placeholder 33"/>
          <p:cNvSpPr>
            <a:spLocks noGrp="1"/>
          </p:cNvSpPr>
          <p:nvPr>
            <p:ph type="body" sz="quarter" idx="35" hasCustomPrompt="1"/>
          </p:nvPr>
        </p:nvSpPr>
        <p:spPr>
          <a:xfrm>
            <a:off x="7189787" y="4428069"/>
            <a:ext cx="1497013" cy="1083733"/>
          </a:xfrm>
        </p:spPr>
        <p:txBody>
          <a:bodyPr/>
          <a:lstStyle>
            <a:lvl1pPr>
              <a:buNone/>
              <a:defRPr sz="6600" b="1" i="0" spc="-300">
                <a:solidFill>
                  <a:schemeClr val="accent5"/>
                </a:solidFill>
                <a:latin typeface="+mj-lt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##</a:t>
            </a:r>
          </a:p>
        </p:txBody>
      </p:sp>
      <p:sp>
        <p:nvSpPr>
          <p:cNvPr id="76" name="Text Placeholder 33"/>
          <p:cNvSpPr>
            <a:spLocks noGrp="1"/>
          </p:cNvSpPr>
          <p:nvPr>
            <p:ph type="body" sz="quarter" idx="36" hasCustomPrompt="1"/>
          </p:nvPr>
        </p:nvSpPr>
        <p:spPr>
          <a:xfrm>
            <a:off x="457200" y="4336335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77" name="Text Placeholder 33"/>
          <p:cNvSpPr>
            <a:spLocks noGrp="1"/>
          </p:cNvSpPr>
          <p:nvPr>
            <p:ph type="body" sz="quarter" idx="37" hasCustomPrompt="1"/>
          </p:nvPr>
        </p:nvSpPr>
        <p:spPr>
          <a:xfrm>
            <a:off x="2140347" y="4336335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78" name="Text Placeholder 33"/>
          <p:cNvSpPr>
            <a:spLocks noGrp="1"/>
          </p:cNvSpPr>
          <p:nvPr>
            <p:ph type="body" sz="quarter" idx="38" hasCustomPrompt="1"/>
          </p:nvPr>
        </p:nvSpPr>
        <p:spPr>
          <a:xfrm>
            <a:off x="3823494" y="4336335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79" name="Text Placeholder 33"/>
          <p:cNvSpPr>
            <a:spLocks noGrp="1"/>
          </p:cNvSpPr>
          <p:nvPr>
            <p:ph type="body" sz="quarter" idx="39" hasCustomPrompt="1"/>
          </p:nvPr>
        </p:nvSpPr>
        <p:spPr>
          <a:xfrm>
            <a:off x="5506641" y="4336335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  <p:sp>
        <p:nvSpPr>
          <p:cNvPr id="80" name="Text Placeholder 33"/>
          <p:cNvSpPr>
            <a:spLocks noGrp="1"/>
          </p:cNvSpPr>
          <p:nvPr>
            <p:ph type="body" sz="quarter" idx="40" hasCustomPrompt="1"/>
          </p:nvPr>
        </p:nvSpPr>
        <p:spPr>
          <a:xfrm>
            <a:off x="7189787" y="4336335"/>
            <a:ext cx="1497013" cy="295466"/>
          </a:xfrm>
        </p:spPr>
        <p:txBody>
          <a:bodyPr anchor="b">
            <a:noAutofit/>
          </a:bodyPr>
          <a:lstStyle>
            <a:lvl1pPr>
              <a:buNone/>
              <a:defRPr sz="1600" b="0" i="1" spc="0">
                <a:solidFill>
                  <a:schemeClr val="bg2"/>
                </a:solidFill>
                <a:latin typeface="Corbel" panose="020B05030202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 marL="0" indent="0">
              <a:buNone/>
              <a:defRPr/>
            </a:lvl4pPr>
            <a:lvl5pPr marL="171450" indent="0">
              <a:buNone/>
              <a:defRPr/>
            </a:lvl5pPr>
          </a:lstStyle>
          <a:p>
            <a:pPr lvl="0"/>
            <a:r>
              <a:rPr lang="en-US" dirty="0" smtClean="0"/>
              <a:t>Insert</a:t>
            </a:r>
          </a:p>
        </p:txBody>
      </p:sp>
    </p:spTree>
    <p:extLst>
      <p:ext uri="{BB962C8B-B14F-4D97-AF65-F5344CB8AC3E}">
        <p14:creationId xmlns:p14="http://schemas.microsoft.com/office/powerpoint/2010/main" val="1419773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233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+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3"/>
          </p:nvPr>
        </p:nvSpPr>
        <p:spPr>
          <a:xfrm>
            <a:off x="1301262" y="3429000"/>
            <a:ext cx="2321755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062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585" y="3429000"/>
            <a:ext cx="4859215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757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585" y="685800"/>
            <a:ext cx="2321755" cy="54927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2"/>
          <p:cNvSpPr>
            <a:spLocks noGrp="1"/>
          </p:cNvSpPr>
          <p:nvPr>
            <p:ph idx="10"/>
          </p:nvPr>
        </p:nvSpPr>
        <p:spPr>
          <a:xfrm>
            <a:off x="6353908" y="685800"/>
            <a:ext cx="2332892" cy="54927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49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827585" y="3429000"/>
            <a:ext cx="2321755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6353908" y="3429000"/>
            <a:ext cx="2332892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1932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827585" y="3429000"/>
            <a:ext cx="2321755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0"/>
          </p:nvPr>
        </p:nvSpPr>
        <p:spPr>
          <a:xfrm>
            <a:off x="6353908" y="3429000"/>
            <a:ext cx="2332892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1"/>
          </p:nvPr>
        </p:nvSpPr>
        <p:spPr>
          <a:xfrm>
            <a:off x="1301262" y="3429000"/>
            <a:ext cx="2321755" cy="27495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301262" y="6407150"/>
            <a:ext cx="6738787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924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407150"/>
            <a:ext cx="7582849" cy="450850"/>
          </a:xfrm>
        </p:spPr>
        <p:txBody>
          <a:bodyPr/>
          <a:lstStyle>
            <a:lvl1pPr>
              <a:lnSpc>
                <a:spcPct val="85000"/>
              </a:lnSpc>
              <a:buFontTx/>
              <a:buNone/>
              <a:defRPr sz="800" i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2pPr>
            <a:lvl3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3pPr>
            <a:lvl4pPr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85000"/>
              </a:lnSpc>
              <a:buFontTx/>
              <a:buNone/>
              <a:defRPr sz="8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insert attrib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8903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3182052" cy="122802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dirty="0" smtClean="0"/>
              <a:t>All Click To Edit Master Title </a:t>
            </a:r>
            <a:br>
              <a:rPr lang="en-US" dirty="0" smtClean="0"/>
            </a:br>
            <a:r>
              <a:rPr lang="en-US" dirty="0" smtClean="0"/>
              <a:t>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9078" y="685800"/>
            <a:ext cx="4857722" cy="5492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More</a:t>
            </a:r>
          </a:p>
          <a:p>
            <a:pPr lvl="8"/>
            <a:r>
              <a:rPr lang="en-US" dirty="0" smtClean="0"/>
              <a:t>More</a:t>
            </a:r>
          </a:p>
        </p:txBody>
      </p:sp>
      <p:cxnSp>
        <p:nvCxnSpPr>
          <p:cNvPr id="69" name="Straight Connector 68"/>
          <p:cNvCxnSpPr/>
          <p:nvPr userDrawn="1"/>
        </p:nvCxnSpPr>
        <p:spPr>
          <a:xfrm>
            <a:off x="457200" y="460057"/>
            <a:ext cx="3182052" cy="0"/>
          </a:xfrm>
          <a:prstGeom prst="line">
            <a:avLst/>
          </a:prstGeom>
          <a:ln w="12700">
            <a:solidFill>
              <a:schemeClr val="tx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 userDrawn="1"/>
        </p:nvCxnSpPr>
        <p:spPr>
          <a:xfrm>
            <a:off x="3829078" y="460057"/>
            <a:ext cx="4857722" cy="0"/>
          </a:xfrm>
          <a:prstGeom prst="line">
            <a:avLst/>
          </a:prstGeom>
          <a:ln w="12700">
            <a:solidFill>
              <a:schemeClr val="tx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 userDrawn="1"/>
        </p:nvSpPr>
        <p:spPr>
          <a:xfrm>
            <a:off x="8561766" y="639771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2385CB4A-7E96-44CA-B116-B71B544B697D}" type="slidenum">
              <a:rPr lang="en-US" sz="800" smtClean="0">
                <a:solidFill>
                  <a:schemeClr val="bg2"/>
                </a:solidFill>
              </a:rPr>
              <a:pPr algn="r"/>
              <a:t>‹#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117" name="TextBox 116"/>
          <p:cNvSpPr txBox="1"/>
          <p:nvPr userDrawn="1"/>
        </p:nvSpPr>
        <p:spPr>
          <a:xfrm>
            <a:off x="8331889" y="6397715"/>
            <a:ext cx="2404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800" dirty="0" smtClean="0">
                <a:solidFill>
                  <a:schemeClr val="bg2"/>
                </a:solidFill>
              </a:rPr>
              <a:t>|</a:t>
            </a:r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137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3" r:id="rId3"/>
    <p:sldLayoutId id="2147483656" r:id="rId4"/>
    <p:sldLayoutId id="2147483658" r:id="rId5"/>
    <p:sldLayoutId id="2147483650" r:id="rId6"/>
    <p:sldLayoutId id="2147483657" r:id="rId7"/>
    <p:sldLayoutId id="2147483659" r:id="rId8"/>
    <p:sldLayoutId id="2147483654" r:id="rId9"/>
    <p:sldLayoutId id="2147483660" r:id="rId10"/>
    <p:sldLayoutId id="214748365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800" b="1" kern="1200" spc="-15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1200"/>
        </a:spcAft>
        <a:buFont typeface="Arial" panose="020B0604020202020204" pitchFamily="34" charset="0"/>
        <a:buChar char="​"/>
        <a:defRPr sz="1500" b="0" i="1" kern="1200">
          <a:solidFill>
            <a:schemeClr val="accent1"/>
          </a:solidFill>
          <a:latin typeface="Corbel" panose="020B0503020204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500" i="1" kern="1200">
          <a:solidFill>
            <a:schemeClr val="tx2"/>
          </a:solidFill>
          <a:latin typeface="Corbel" panose="020B0503020204020204" pitchFamily="34" charset="0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100" b="1" kern="1200">
          <a:solidFill>
            <a:schemeClr val="accent4"/>
          </a:solidFill>
          <a:latin typeface="Microsoft New Tai Lue" panose="020B0502040204020203" pitchFamily="34" charset="0"/>
          <a:ea typeface="+mn-ea"/>
          <a:cs typeface="Microsoft New Tai Lue" panose="020B0502040204020203" pitchFamily="34" charset="0"/>
        </a:defRPr>
      </a:lvl3pPr>
      <a:lvl4pPr marL="0" indent="0" algn="l" defTabSz="914400" rtl="0" eaLnBrk="1" latinLnBrk="0" hangingPunct="1">
        <a:lnSpc>
          <a:spcPct val="114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100" kern="1200">
          <a:solidFill>
            <a:schemeClr val="tx2"/>
          </a:solidFill>
          <a:latin typeface="Microsoft New Tai Lue" panose="020B0502040204020203" pitchFamily="34" charset="0"/>
          <a:ea typeface="+mn-ea"/>
          <a:cs typeface="Microsoft New Tai Lue" panose="020B0502040204020203" pitchFamily="34" charset="0"/>
        </a:defRPr>
      </a:lvl4pPr>
      <a:lvl5pPr marL="171450" indent="-171450" algn="l" defTabSz="914400" rtl="0" eaLnBrk="1" latinLnBrk="0" hangingPunct="1">
        <a:lnSpc>
          <a:spcPct val="95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Microsoft New Tai Lue" panose="020B0502040204020203" pitchFamily="34" charset="0"/>
          <a:ea typeface="+mn-ea"/>
          <a:cs typeface="Microsoft New Tai Lue" panose="020B0502040204020203" pitchFamily="34" charset="0"/>
        </a:defRPr>
      </a:lvl5pPr>
      <a:lvl6pPr marL="344488" indent="-173038" algn="l" defTabSz="914400" rtl="0" eaLnBrk="1" latinLnBrk="0" hangingPunct="1">
        <a:lnSpc>
          <a:spcPct val="85000"/>
        </a:lnSpc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1100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​"/>
        <a:defRPr sz="1500" i="1" kern="1200" baseline="0">
          <a:solidFill>
            <a:schemeClr val="bg2"/>
          </a:solidFill>
          <a:latin typeface="Corbel" panose="020B0503020204020204" pitchFamily="34" charset="0"/>
          <a:ea typeface="+mn-ea"/>
          <a:cs typeface="+mn-cs"/>
        </a:defRPr>
      </a:lvl7pPr>
      <a:lvl8pPr marL="171450" indent="-171450" algn="l" defTabSz="9144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Corbel" panose="020B0503020204020204" pitchFamily="34" charset="0"/>
          <a:ea typeface="+mn-ea"/>
          <a:cs typeface="+mn-cs"/>
        </a:defRPr>
      </a:lvl8pPr>
      <a:lvl9pPr marL="344488" indent="-173038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Corbel" panose="020B0503020204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1.wdp"/><Relationship Id="rId9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4.w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2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57199" y="358925"/>
            <a:ext cx="7667897" cy="1611766"/>
          </a:xfrm>
        </p:spPr>
        <p:txBody>
          <a:bodyPr/>
          <a:lstStyle/>
          <a:p>
            <a:r>
              <a:rPr lang="en-US" sz="5400" dirty="0" smtClean="0"/>
              <a:t>Public Trust and Social Cohesion</a:t>
            </a:r>
            <a:br>
              <a:rPr lang="en-US" sz="5400" dirty="0" smtClean="0"/>
            </a:br>
            <a:endParaRPr lang="en-US" sz="3200" b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569780" y="3496727"/>
            <a:ext cx="6117022" cy="2856776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2200" dirty="0" smtClean="0"/>
              <a:t>Kathryn Campbell CSC, Secretary, </a:t>
            </a:r>
          </a:p>
          <a:p>
            <a:pPr>
              <a:spcBef>
                <a:spcPts val="0"/>
              </a:spcBef>
            </a:pPr>
            <a:r>
              <a:rPr lang="en-US" sz="2200" dirty="0" smtClean="0"/>
              <a:t> Australian Department of Social Services</a:t>
            </a:r>
          </a:p>
          <a:p>
            <a:r>
              <a:rPr lang="en-US" sz="2200" dirty="0" smtClean="0"/>
              <a:t>Stephanie Foster, Deputy Secretary, Governance, Australian Department of the Prime Minister and Cabinet</a:t>
            </a:r>
          </a:p>
          <a:p>
            <a:r>
              <a:rPr lang="en-US" sz="2200" dirty="0" smtClean="0"/>
              <a:t>Marta Morgan, Deputy Minister,                          Immigration, Refugees and Citizenship Canada</a:t>
            </a:r>
            <a:endParaRPr lang="en-US" sz="22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b="1" dirty="0" smtClean="0">
                <a:solidFill>
                  <a:schemeClr val="bg1"/>
                </a:solidFill>
              </a:rPr>
              <a:t>January 2019 </a:t>
            </a:r>
            <a:endParaRPr lang="en-AU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08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Actions underway</a:t>
            </a:r>
            <a:endParaRPr lang="en-US" dirty="0">
              <a:solidFill>
                <a:srgbClr val="118E97"/>
              </a:solidFill>
            </a:endParaRPr>
          </a:p>
        </p:txBody>
      </p:sp>
      <p:sp>
        <p:nvSpPr>
          <p:cNvPr id="5" name="Content Placeholder 7"/>
          <p:cNvSpPr txBox="1">
            <a:spLocks/>
          </p:cNvSpPr>
          <p:nvPr/>
        </p:nvSpPr>
        <p:spPr>
          <a:xfrm>
            <a:off x="1317497" y="3412375"/>
            <a:ext cx="2321755" cy="290529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500" b="0" i="1" kern="1200">
                <a:solidFill>
                  <a:schemeClr val="accent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i="1" kern="120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 b="1" kern="1200">
                <a:solidFill>
                  <a:schemeClr val="accent4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4pPr>
            <a:lvl5pPr marL="1714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5pPr>
            <a:lvl6pPr marL="344488" indent="-173038" algn="l" defTabSz="914400" rtl="0" eaLnBrk="1" latinLnBrk="0" hangingPunct="1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​"/>
              <a:defRPr sz="1500" i="1" kern="1200" baseline="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8pPr>
            <a:lvl9pPr marL="344488" indent="-173038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9pPr>
          </a:lstStyle>
          <a:p>
            <a:pPr lvl="3"/>
            <a:endParaRPr lang="en-US" dirty="0"/>
          </a:p>
        </p:txBody>
      </p:sp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852010"/>
              </p:ext>
            </p:extLst>
          </p:nvPr>
        </p:nvGraphicFramePr>
        <p:xfrm>
          <a:off x="457199" y="2633087"/>
          <a:ext cx="3103686" cy="2011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036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53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Canada and Australia each have wide-ranging foundation policies and frameworks to support cohesion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8277" y="1367585"/>
            <a:ext cx="792608" cy="39630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797747" y="857830"/>
            <a:ext cx="522870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Whole-of-government sustained focus on gender equalit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The Accessible Canada Act legisl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A new Federal Anti-Racism Strateg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The Poverty Reduction Strategy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The reconciliation agenda with Indigenous peoples</a:t>
            </a:r>
            <a:endParaRPr lang="en-AU" sz="2000" dirty="0"/>
          </a:p>
        </p:txBody>
      </p:sp>
      <p:pic>
        <p:nvPicPr>
          <p:cNvPr id="9" name="Picture 8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277" y="4857660"/>
            <a:ext cx="721609" cy="40126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797747" y="3827768"/>
            <a:ext cx="522870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Reforms to strengthen the requirements for Australian residency and citizenship to support social cohes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Developing a national policy framework on community cohes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Multicultural Australia statem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losing the Gap initiativ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National Disability Insurance Scheme  </a:t>
            </a:r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953131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38485"/>
            <a:ext cx="3182052" cy="1228028"/>
          </a:xfrm>
        </p:spPr>
        <p:txBody>
          <a:bodyPr/>
          <a:lstStyle/>
          <a:p>
            <a:r>
              <a:rPr lang="en-AU" dirty="0" smtClean="0">
                <a:solidFill>
                  <a:srgbClr val="118E97"/>
                </a:solidFill>
              </a:rPr>
              <a:t>Challenges and opportunities </a:t>
            </a:r>
            <a:endParaRPr lang="en-AU" dirty="0">
              <a:solidFill>
                <a:srgbClr val="118E97"/>
              </a:solidFill>
            </a:endParaRPr>
          </a:p>
        </p:txBody>
      </p:sp>
      <p:graphicFrame>
        <p:nvGraphicFramePr>
          <p:cNvPr id="22" name="Table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1912868"/>
              </p:ext>
            </p:extLst>
          </p:nvPr>
        </p:nvGraphicFramePr>
        <p:xfrm>
          <a:off x="3827585" y="635434"/>
          <a:ext cx="4855730" cy="9988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557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98881">
                <a:tc>
                  <a:txBody>
                    <a:bodyPr/>
                    <a:lstStyle/>
                    <a:p>
                      <a:pPr lvl="0">
                        <a:defRPr/>
                      </a:pPr>
                      <a:endParaRPr lang="en-US" sz="1800" i="1" kern="100" spc="0" baseline="0" dirty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3839097"/>
              </p:ext>
            </p:extLst>
          </p:nvPr>
        </p:nvGraphicFramePr>
        <p:xfrm>
          <a:off x="496383" y="2103967"/>
          <a:ext cx="2919677" cy="128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9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53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Several common challenges have begun to emerge 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9" name="Picture 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460" y="899715"/>
            <a:ext cx="976132" cy="539194"/>
          </a:xfrm>
          <a:prstGeom prst="rect">
            <a:avLst/>
          </a:prstGeom>
          <a:noFill/>
        </p:spPr>
      </p:pic>
      <p:sp>
        <p:nvSpPr>
          <p:cNvPr id="4" name="TextBox 3"/>
          <p:cNvSpPr txBox="1"/>
          <p:nvPr/>
        </p:nvSpPr>
        <p:spPr>
          <a:xfrm>
            <a:off x="4009935" y="1866513"/>
            <a:ext cx="467338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External forces and actors such as disinformation and cyberattacks 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The breadth of the concept makes it difficult to focus action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Lack of strategic coordinated national policy frameworks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Strong and consistent measurement frameworks have been elusive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hesion initiatives cut across all tiers of government and are ‘program rich and policy poor’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72888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>
                <a:solidFill>
                  <a:srgbClr val="118E97"/>
                </a:solidFill>
              </a:rPr>
              <a:t>Areas for government action </a:t>
            </a:r>
            <a:endParaRPr lang="en-AU" dirty="0">
              <a:solidFill>
                <a:srgbClr val="118E97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26786" y="639893"/>
            <a:ext cx="4759893" cy="6123978"/>
          </a:xfrm>
        </p:spPr>
        <p:txBody>
          <a:bodyPr/>
          <a:lstStyle/>
          <a:p>
            <a:pPr marL="725488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</a:pPr>
            <a:r>
              <a:rPr lang="en-US" sz="2200" i="0" dirty="0" smtClean="0">
                <a:solidFill>
                  <a:schemeClr val="tx1"/>
                </a:solidFill>
                <a:latin typeface="+mn-lt"/>
              </a:rPr>
              <a:t>Social cohesion =              whole-of-community matter </a:t>
            </a:r>
          </a:p>
          <a:p>
            <a:pPr marL="725488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200" i="0" dirty="0">
                <a:solidFill>
                  <a:schemeClr val="tx1"/>
                </a:solidFill>
                <a:latin typeface="+mn-lt"/>
              </a:rPr>
              <a:t>Whole-of-government response</a:t>
            </a:r>
            <a:endParaRPr lang="en-AU" sz="2200" i="0" dirty="0">
              <a:solidFill>
                <a:schemeClr val="tx1"/>
              </a:solidFill>
              <a:latin typeface="+mn-lt"/>
            </a:endParaRPr>
          </a:p>
          <a:p>
            <a:pPr marL="725488">
              <a:lnSpc>
                <a:spcPts val="2500"/>
              </a:lnSpc>
              <a:spcBef>
                <a:spcPts val="3000"/>
              </a:spcBef>
              <a:spcAft>
                <a:spcPts val="600"/>
              </a:spcAft>
              <a:buNone/>
            </a:pPr>
            <a:r>
              <a:rPr lang="en-AU" sz="2200" i="0" dirty="0">
                <a:solidFill>
                  <a:schemeClr val="tx1"/>
                </a:solidFill>
                <a:latin typeface="+mn-lt"/>
              </a:rPr>
              <a:t>Engagement and partnership inside and outside of government </a:t>
            </a:r>
          </a:p>
          <a:p>
            <a:pPr marL="725488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200" i="0" dirty="0" smtClean="0">
                <a:solidFill>
                  <a:schemeClr val="tx1"/>
                </a:solidFill>
                <a:latin typeface="+mn-lt"/>
              </a:rPr>
              <a:t>Long-term </a:t>
            </a:r>
            <a:r>
              <a:rPr lang="en-US" sz="2200" i="0" dirty="0">
                <a:solidFill>
                  <a:schemeClr val="tx1"/>
                </a:solidFill>
                <a:latin typeface="+mn-lt"/>
              </a:rPr>
              <a:t>investment </a:t>
            </a:r>
          </a:p>
          <a:p>
            <a:pPr marL="725488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200" i="0" dirty="0" smtClean="0">
              <a:solidFill>
                <a:schemeClr val="tx1"/>
              </a:solidFill>
              <a:latin typeface="+mn-lt"/>
            </a:endParaRPr>
          </a:p>
          <a:p>
            <a:pPr marL="725488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200" i="0" dirty="0" smtClean="0">
                <a:solidFill>
                  <a:schemeClr val="tx1"/>
                </a:solidFill>
                <a:latin typeface="+mn-lt"/>
              </a:rPr>
              <a:t>Developing </a:t>
            </a:r>
            <a:r>
              <a:rPr lang="en-US" sz="2200" i="0" dirty="0">
                <a:solidFill>
                  <a:schemeClr val="tx1"/>
                </a:solidFill>
                <a:latin typeface="+mn-lt"/>
              </a:rPr>
              <a:t>and collaborating on social cohesion </a:t>
            </a:r>
            <a:r>
              <a:rPr lang="en-US" sz="2200" i="0" dirty="0" smtClean="0">
                <a:solidFill>
                  <a:schemeClr val="tx1"/>
                </a:solidFill>
                <a:latin typeface="+mn-lt"/>
              </a:rPr>
              <a:t>frameworks</a:t>
            </a:r>
            <a:endParaRPr lang="en-US" sz="2200" i="0" dirty="0">
              <a:solidFill>
                <a:schemeClr val="tx1"/>
              </a:solidFill>
              <a:latin typeface="+mn-lt"/>
            </a:endParaRPr>
          </a:p>
          <a:p>
            <a:pPr marL="715963">
              <a:lnSpc>
                <a:spcPct val="110000"/>
              </a:lnSpc>
              <a:spcBef>
                <a:spcPts val="1800"/>
              </a:spcBef>
              <a:spcAft>
                <a:spcPts val="600"/>
              </a:spcAft>
              <a:buNone/>
            </a:pPr>
            <a:r>
              <a:rPr lang="en-US" sz="2200" i="0" dirty="0">
                <a:solidFill>
                  <a:schemeClr val="tx1"/>
                </a:solidFill>
                <a:latin typeface="+mn-lt"/>
              </a:rPr>
              <a:t>Collaboratively encouraging discussions in international fora</a:t>
            </a:r>
            <a:endParaRPr lang="en-AU" sz="2200" i="0" dirty="0">
              <a:solidFill>
                <a:schemeClr val="tx1"/>
              </a:solidFill>
              <a:latin typeface="+mn-lt"/>
            </a:endParaRPr>
          </a:p>
          <a:p>
            <a:pPr marL="715963">
              <a:lnSpc>
                <a:spcPct val="110000"/>
              </a:lnSpc>
              <a:spcAft>
                <a:spcPts val="600"/>
              </a:spcAft>
              <a:buNone/>
            </a:pPr>
            <a:endParaRPr lang="en-AU" sz="2000" i="0" dirty="0">
              <a:solidFill>
                <a:schemeClr val="tx1"/>
              </a:solidFill>
            </a:endParaRPr>
          </a:p>
          <a:p>
            <a:pPr marL="715963">
              <a:lnSpc>
                <a:spcPts val="1700"/>
              </a:lnSpc>
              <a:spcBef>
                <a:spcPts val="2400"/>
              </a:spcBef>
              <a:spcAft>
                <a:spcPts val="600"/>
              </a:spcAft>
              <a:buNone/>
            </a:pPr>
            <a:endParaRPr lang="en-AU" sz="2000" i="0" dirty="0">
              <a:solidFill>
                <a:schemeClr val="tx1"/>
              </a:solidFill>
            </a:endParaRPr>
          </a:p>
          <a:p>
            <a:pPr marL="715963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  <a:buNone/>
            </a:pPr>
            <a:endParaRPr lang="en-AU" sz="2200" i="0" dirty="0" smtClean="0">
              <a:solidFill>
                <a:schemeClr val="tx1"/>
              </a:solidFill>
              <a:latin typeface="+mn-lt"/>
            </a:endParaRPr>
          </a:p>
          <a:p>
            <a:pPr marL="715963">
              <a:lnSpc>
                <a:spcPts val="2500"/>
              </a:lnSpc>
              <a:spcBef>
                <a:spcPts val="1800"/>
              </a:spcBef>
              <a:spcAft>
                <a:spcPts val="600"/>
              </a:spcAft>
              <a:buNone/>
            </a:pPr>
            <a:endParaRPr lang="en-US" sz="2200" i="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6112" y="1512838"/>
            <a:ext cx="714826" cy="714826"/>
          </a:xfrm>
          <a:prstGeom prst="rect">
            <a:avLst/>
          </a:prstGeom>
        </p:spPr>
      </p:pic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055767"/>
              </p:ext>
            </p:extLst>
          </p:nvPr>
        </p:nvGraphicFramePr>
        <p:xfrm>
          <a:off x="444816" y="2520099"/>
          <a:ext cx="3103686" cy="2743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036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53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Canada and Australia are well-positioned to embark upon a joint discussion of emerging trends and opportunities for further government action</a:t>
                      </a:r>
                      <a:endParaRPr lang="en-AU" sz="24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8" name="Picture 7"/>
          <p:cNvPicPr/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231" y="2456574"/>
            <a:ext cx="754783" cy="830323"/>
          </a:xfrm>
          <a:prstGeom prst="rect">
            <a:avLst/>
          </a:prstGeom>
          <a:noFill/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0964" y="4392911"/>
            <a:ext cx="832175" cy="83217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5782" y="6396066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grpSp>
        <p:nvGrpSpPr>
          <p:cNvPr id="15" name="Group 14"/>
          <p:cNvGrpSpPr/>
          <p:nvPr/>
        </p:nvGrpSpPr>
        <p:grpSpPr>
          <a:xfrm>
            <a:off x="3930964" y="5455212"/>
            <a:ext cx="844334" cy="748942"/>
            <a:chOff x="5772886" y="2844104"/>
            <a:chExt cx="619402" cy="619402"/>
          </a:xfrm>
        </p:grpSpPr>
        <p:sp>
          <p:nvSpPr>
            <p:cNvPr id="16" name="Oval 15"/>
            <p:cNvSpPr/>
            <p:nvPr/>
          </p:nvSpPr>
          <p:spPr>
            <a:xfrm>
              <a:off x="5772886" y="2844104"/>
              <a:ext cx="619402" cy="61940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5000"/>
                </a:lnSpc>
              </a:pPr>
              <a:endParaRPr lang="en-AU" b="1" dirty="0" smtClean="0">
                <a:solidFill>
                  <a:srgbClr val="3C3D3E"/>
                </a:solidFill>
                <a:latin typeface="Arial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1797" y="3031701"/>
              <a:ext cx="341580" cy="257928"/>
            </a:xfrm>
            <a:prstGeom prst="rect">
              <a:avLst/>
            </a:prstGeom>
          </p:spPr>
        </p:pic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11231" y="3410193"/>
            <a:ext cx="831732" cy="86706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918805" y="563797"/>
            <a:ext cx="738800" cy="73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565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>
                <a:solidFill>
                  <a:schemeClr val="accent4"/>
                </a:solidFill>
              </a:rPr>
              <a:t>Discussion</a:t>
            </a:r>
            <a:endParaRPr lang="en-AU" dirty="0">
              <a:solidFill>
                <a:schemeClr val="accent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39252" y="551793"/>
            <a:ext cx="5211450" cy="5866259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AU" sz="2000" i="0" dirty="0" smtClean="0">
                <a:solidFill>
                  <a:schemeClr val="tx1"/>
                </a:solidFill>
                <a:latin typeface="+mn-lt"/>
              </a:rPr>
              <a:t>What </a:t>
            </a:r>
            <a:r>
              <a:rPr lang="en-AU" sz="2000" i="0" dirty="0">
                <a:solidFill>
                  <a:schemeClr val="tx1"/>
                </a:solidFill>
                <a:latin typeface="+mn-lt"/>
              </a:rPr>
              <a:t>is the role of the national government in fostering social cohesion (as opposed to sub-national governments and other actors)? </a:t>
            </a:r>
            <a:endParaRPr lang="en-AU" sz="2000" i="0" dirty="0" smtClean="0">
              <a:solidFill>
                <a:schemeClr val="tx1"/>
              </a:solidFill>
              <a:latin typeface="+mn-lt"/>
            </a:endParaRPr>
          </a:p>
          <a:p>
            <a:pPr marL="361950" indent="-361950">
              <a:lnSpc>
                <a:spcPct val="100000"/>
              </a:lnSpc>
              <a:spcAft>
                <a:spcPts val="600"/>
              </a:spcAft>
              <a:buNone/>
            </a:pPr>
            <a:r>
              <a:rPr lang="en-AU" sz="2000" i="0" dirty="0" smtClean="0">
                <a:solidFill>
                  <a:schemeClr val="tx1"/>
                </a:solidFill>
                <a:latin typeface="+mn-lt"/>
              </a:rPr>
              <a:t>1a. What </a:t>
            </a:r>
            <a:r>
              <a:rPr lang="en-AU" sz="2000" i="0" dirty="0">
                <a:solidFill>
                  <a:schemeClr val="tx1"/>
                </a:solidFill>
                <a:latin typeface="+mn-lt"/>
              </a:rPr>
              <a:t>is the role of other actors such as individuals, business, philanthropy, civil society in building social cohesion and how do we talk about it?                   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+mj-lt"/>
              <a:buAutoNum type="arabicPeriod" startAt="2"/>
            </a:pPr>
            <a:r>
              <a:rPr lang="en-AU" sz="2000" i="0" dirty="0" smtClean="0">
                <a:solidFill>
                  <a:schemeClr val="tx1"/>
                </a:solidFill>
                <a:latin typeface="+mn-lt"/>
              </a:rPr>
              <a:t>Could </a:t>
            </a:r>
            <a:r>
              <a:rPr lang="en-AU" sz="2000" i="0" dirty="0">
                <a:solidFill>
                  <a:schemeClr val="tx1"/>
                </a:solidFill>
                <a:latin typeface="+mn-lt"/>
              </a:rPr>
              <a:t>there be more focus on the role for public sector professionals in improving the trust relationship with citizens, for example, in the delivery of services?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+mj-lt"/>
              <a:buAutoNum type="arabicPeriod" startAt="2"/>
            </a:pPr>
            <a:r>
              <a:rPr lang="en-AU" sz="2000" i="0" dirty="0" smtClean="0">
                <a:solidFill>
                  <a:schemeClr val="tx1"/>
                </a:solidFill>
                <a:latin typeface="+mn-lt"/>
              </a:rPr>
              <a:t>How </a:t>
            </a:r>
            <a:r>
              <a:rPr lang="en-AU" sz="2000" i="0" dirty="0">
                <a:solidFill>
                  <a:schemeClr val="tx1"/>
                </a:solidFill>
                <a:latin typeface="+mn-lt"/>
              </a:rPr>
              <a:t>might countries further collaborate with each other (beyond exchanging assessments and experiences)?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+mj-lt"/>
              <a:buAutoNum type="arabicPeriod" startAt="2"/>
            </a:pPr>
            <a:r>
              <a:rPr lang="en-AU" sz="2000" i="0" dirty="0" smtClean="0">
                <a:solidFill>
                  <a:schemeClr val="tx1"/>
                </a:solidFill>
                <a:latin typeface="+mn-lt"/>
              </a:rPr>
              <a:t>What </a:t>
            </a:r>
            <a:r>
              <a:rPr lang="en-AU" sz="2000" i="0" dirty="0">
                <a:solidFill>
                  <a:schemeClr val="tx1"/>
                </a:solidFill>
                <a:latin typeface="+mn-lt"/>
              </a:rPr>
              <a:t>steps can be taken to formulate a bias-free social cohesion evidence base?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AU" sz="1600" i="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76022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/>
          <p:cNvSpPr>
            <a:spLocks noGrp="1"/>
          </p:cNvSpPr>
          <p:nvPr>
            <p:ph type="title"/>
          </p:nvPr>
        </p:nvSpPr>
        <p:spPr>
          <a:xfrm>
            <a:off x="457200" y="512814"/>
            <a:ext cx="2993366" cy="1479888"/>
          </a:xfrm>
        </p:spPr>
        <p:txBody>
          <a:bodyPr/>
          <a:lstStyle/>
          <a:p>
            <a:r>
              <a:rPr lang="en-US" sz="2400" dirty="0" smtClean="0">
                <a:solidFill>
                  <a:schemeClr val="accent4">
                    <a:lumMod val="75000"/>
                  </a:schemeClr>
                </a:solidFill>
              </a:rPr>
              <a:t>Overview</a:t>
            </a:r>
            <a:endParaRPr lang="en-US" sz="24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81" name="Content Placeholder 2"/>
          <p:cNvSpPr txBox="1">
            <a:spLocks/>
          </p:cNvSpPr>
          <p:nvPr/>
        </p:nvSpPr>
        <p:spPr>
          <a:xfrm>
            <a:off x="457200" y="1306877"/>
            <a:ext cx="2321755" cy="10498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500" b="0" i="1" kern="1200">
                <a:solidFill>
                  <a:schemeClr val="accent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i="1" kern="120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 b="1" kern="1200">
                <a:solidFill>
                  <a:schemeClr val="accent4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4pPr>
            <a:lvl5pPr marL="1714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5pPr>
            <a:lvl6pPr marL="344488" indent="-173038" algn="l" defTabSz="914400" rtl="0" eaLnBrk="1" latinLnBrk="0" hangingPunct="1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​"/>
              <a:defRPr sz="1500" i="1" kern="1200" baseline="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8pPr>
            <a:lvl9pPr marL="344488" indent="-173038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endParaRPr lang="en-AU" sz="1100" i="0" dirty="0">
              <a:solidFill>
                <a:prstClr val="black"/>
              </a:solidFill>
              <a:latin typeface="Microsoft New Tai Lue"/>
            </a:endParaRPr>
          </a:p>
        </p:txBody>
      </p:sp>
      <p:sp>
        <p:nvSpPr>
          <p:cNvPr id="79" name="Content Placeholder 2"/>
          <p:cNvSpPr txBox="1">
            <a:spLocks/>
          </p:cNvSpPr>
          <p:nvPr/>
        </p:nvSpPr>
        <p:spPr>
          <a:xfrm>
            <a:off x="506858" y="1190444"/>
            <a:ext cx="2943708" cy="58343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500" b="0" i="1" kern="1200">
                <a:solidFill>
                  <a:schemeClr val="accent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i="1" kern="120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 b="1" kern="1200">
                <a:solidFill>
                  <a:schemeClr val="accent4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4pPr>
            <a:lvl5pPr marL="1714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5pPr>
            <a:lvl6pPr marL="344488" indent="-173038" algn="l" defTabSz="914400" rtl="0" eaLnBrk="1" latinLnBrk="0" hangingPunct="1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​"/>
              <a:defRPr sz="1500" i="1" kern="1200" baseline="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8pPr>
            <a:lvl9pPr marL="344488" indent="-173038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AU" dirty="0" smtClean="0">
              <a:solidFill>
                <a:prstClr val="black"/>
              </a:solidFill>
              <a:latin typeface="Microsoft New Tai Lue"/>
            </a:endParaRPr>
          </a:p>
          <a:p>
            <a:pPr lvl="3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dirty="0">
              <a:solidFill>
                <a:prstClr val="black"/>
              </a:solidFill>
              <a:latin typeface="Microsoft New Tai Lue"/>
            </a:endParaRPr>
          </a:p>
          <a:p>
            <a:pPr lvl="3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dirty="0" smtClean="0">
              <a:solidFill>
                <a:prstClr val="black"/>
              </a:solidFill>
              <a:latin typeface="Microsoft New Tai Lue"/>
            </a:endParaRPr>
          </a:p>
          <a:p>
            <a:pPr lvl="3">
              <a:spcBef>
                <a:spcPts val="0"/>
              </a:spcBef>
              <a:buFont typeface="Arial" panose="020B0604020202020204" pitchFamily="34" charset="0"/>
              <a:buNone/>
            </a:pPr>
            <a:endParaRPr lang="en-AU" dirty="0" smtClean="0">
              <a:solidFill>
                <a:prstClr val="black"/>
              </a:solidFill>
            </a:endParaRPr>
          </a:p>
        </p:txBody>
      </p:sp>
      <p:sp>
        <p:nvSpPr>
          <p:cNvPr id="85" name="Content Placeholder 2"/>
          <p:cNvSpPr txBox="1">
            <a:spLocks/>
          </p:cNvSpPr>
          <p:nvPr/>
        </p:nvSpPr>
        <p:spPr>
          <a:xfrm>
            <a:off x="6344057" y="1190444"/>
            <a:ext cx="2321755" cy="5573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500" b="0" i="1" kern="1200">
                <a:solidFill>
                  <a:schemeClr val="accent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i="1" kern="1200">
                <a:solidFill>
                  <a:schemeClr val="tx2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 b="1" kern="1200">
                <a:solidFill>
                  <a:schemeClr val="accent4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3pPr>
            <a:lvl4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4pPr>
            <a:lvl5pPr marL="171450" indent="-171450" algn="l" defTabSz="914400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Microsoft New Tai Lue" panose="020B0502040204020203" pitchFamily="34" charset="0"/>
                <a:ea typeface="+mn-ea"/>
                <a:cs typeface="Microsoft New Tai Lue" panose="020B0502040204020203" pitchFamily="34" charset="0"/>
              </a:defRPr>
            </a:lvl5pPr>
            <a:lvl6pPr marL="344488" indent="-173038" algn="l" defTabSz="914400" rtl="0" eaLnBrk="1" latinLnBrk="0" hangingPunct="1">
              <a:lnSpc>
                <a:spcPct val="85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​"/>
              <a:defRPr sz="1500" i="1" kern="1200" baseline="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7pPr>
            <a:lvl8pPr marL="1714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8pPr>
            <a:lvl9pPr marL="344488" indent="-173038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Corbel" panose="020B0503020204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AU" sz="1100" i="0" dirty="0" smtClean="0">
              <a:solidFill>
                <a:prstClr val="black"/>
              </a:solidFill>
              <a:latin typeface="Microsoft New Tai Lue"/>
            </a:endParaRPr>
          </a:p>
        </p:txBody>
      </p:sp>
      <p:graphicFrame>
        <p:nvGraphicFramePr>
          <p:cNvPr id="12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4290060"/>
              </p:ext>
            </p:extLst>
          </p:nvPr>
        </p:nvGraphicFramePr>
        <p:xfrm>
          <a:off x="4200358" y="597047"/>
          <a:ext cx="4688148" cy="5833715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4688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10651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kern="1200" baseline="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What is social cohesion?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1653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2000" b="0" kern="120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Social cohesion in Canada and Australia – at a glance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814614"/>
                  </a:ext>
                </a:extLst>
              </a:tr>
              <a:tr h="2260121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A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Public trust and perceptions:</a:t>
                      </a:r>
                    </a:p>
                    <a:p>
                      <a:pPr marL="342900" marR="0" lvl="3" indent="-3429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Public trust</a:t>
                      </a:r>
                    </a:p>
                    <a:p>
                      <a:pPr marL="342900" marR="0" lvl="3" indent="-3429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Economic security </a:t>
                      </a:r>
                    </a:p>
                    <a:p>
                      <a:pPr marL="342900" marR="0" lvl="3" indent="-3429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Diversity and immigration</a:t>
                      </a:r>
                    </a:p>
                    <a:p>
                      <a:pPr marL="342900" marR="0" lvl="3" indent="-3429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Discrimination</a:t>
                      </a:r>
                    </a:p>
                    <a:p>
                      <a:pPr marL="342900" marR="0" lvl="3" indent="-342900" algn="l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 typeface="Arial" panose="020B0604020202020204" pitchFamily="34" charset="0"/>
                        <a:buAutoNum type="arabicPeriod"/>
                        <a:tabLst/>
                        <a:defRPr/>
                      </a:pPr>
                      <a:r>
                        <a:rPr kumimoji="0" lang="en-US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Microsoft New Tai Lue" panose="020B0502040204020203" pitchFamily="34" charset="0"/>
                        </a:rPr>
                        <a:t>Pride and national identity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98571497"/>
                  </a:ext>
                </a:extLst>
              </a:tr>
              <a:tr h="552090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kern="1200" baseline="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Actions underway 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62144974"/>
                  </a:ext>
                </a:extLst>
              </a:tr>
              <a:tr h="517585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kern="1200" baseline="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Challenges and opportunities 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74374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kern="1200" baseline="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Areas for government action 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9092510"/>
                  </a:ext>
                </a:extLst>
              </a:tr>
              <a:tr h="295502">
                <a:tc>
                  <a:txBody>
                    <a:bodyPr/>
                    <a:lstStyle/>
                    <a:p>
                      <a:pPr marL="0" marR="0" lvl="3" indent="0" algn="l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000" b="0" kern="1200" baseline="0" dirty="0" smtClean="0">
                          <a:solidFill>
                            <a:prstClr val="black"/>
                          </a:solidFill>
                          <a:latin typeface="+mn-lt"/>
                          <a:ea typeface="+mn-ea"/>
                          <a:cs typeface="+mn-cs"/>
                        </a:rPr>
                        <a:t>Discussion </a:t>
                      </a:r>
                      <a:endParaRPr lang="en-AU" sz="2000" b="0" kern="1200" baseline="0" dirty="0" smtClean="0">
                        <a:solidFill>
                          <a:prstClr val="black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35981239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9390395"/>
              </p:ext>
            </p:extLst>
          </p:nvPr>
        </p:nvGraphicFramePr>
        <p:xfrm>
          <a:off x="483080" y="2357098"/>
          <a:ext cx="2574073" cy="3108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740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21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i="1" kern="100" spc="-5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Canada and Australia  are well positioned to embark upon a joint discussion of  emerging trends and 0pportunities for further government action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9" name="Oval 66"/>
          <p:cNvSpPr>
            <a:spLocks noChangeArrowheads="1"/>
          </p:cNvSpPr>
          <p:nvPr/>
        </p:nvSpPr>
        <p:spPr bwMode="gray">
          <a:xfrm>
            <a:off x="3632017" y="616330"/>
            <a:ext cx="348253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15" name="Oval 66"/>
          <p:cNvSpPr>
            <a:spLocks noChangeArrowheads="1"/>
          </p:cNvSpPr>
          <p:nvPr/>
        </p:nvSpPr>
        <p:spPr bwMode="gray">
          <a:xfrm>
            <a:off x="3631052" y="1289329"/>
            <a:ext cx="348253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2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6" name="Oval 66"/>
          <p:cNvSpPr>
            <a:spLocks noChangeArrowheads="1"/>
          </p:cNvSpPr>
          <p:nvPr/>
        </p:nvSpPr>
        <p:spPr bwMode="gray">
          <a:xfrm>
            <a:off x="3638948" y="2406862"/>
            <a:ext cx="373028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3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7" name="Oval 66"/>
          <p:cNvSpPr>
            <a:spLocks noChangeArrowheads="1"/>
          </p:cNvSpPr>
          <p:nvPr/>
        </p:nvSpPr>
        <p:spPr bwMode="gray">
          <a:xfrm>
            <a:off x="3729982" y="4441657"/>
            <a:ext cx="359850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4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13" name="Oval 66"/>
          <p:cNvSpPr>
            <a:spLocks noChangeArrowheads="1"/>
          </p:cNvSpPr>
          <p:nvPr/>
        </p:nvSpPr>
        <p:spPr bwMode="gray">
          <a:xfrm>
            <a:off x="3708386" y="5506476"/>
            <a:ext cx="359850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6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sp>
        <p:nvSpPr>
          <p:cNvPr id="25" name="Oval 66"/>
          <p:cNvSpPr>
            <a:spLocks noChangeArrowheads="1"/>
          </p:cNvSpPr>
          <p:nvPr/>
        </p:nvSpPr>
        <p:spPr bwMode="gray">
          <a:xfrm>
            <a:off x="3708386" y="5029353"/>
            <a:ext cx="359850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5</a:t>
            </a:r>
            <a:endParaRPr lang="en-US" sz="1100" b="1" dirty="0">
              <a:solidFill>
                <a:prstClr val="white"/>
              </a:solidFill>
            </a:endParaRPr>
          </a:p>
        </p:txBody>
      </p:sp>
      <p:sp>
        <p:nvSpPr>
          <p:cNvPr id="26" name="Oval 66"/>
          <p:cNvSpPr>
            <a:spLocks noChangeArrowheads="1"/>
          </p:cNvSpPr>
          <p:nvPr/>
        </p:nvSpPr>
        <p:spPr bwMode="gray">
          <a:xfrm>
            <a:off x="3703331" y="5948446"/>
            <a:ext cx="359850" cy="398525"/>
          </a:xfrm>
          <a:prstGeom prst="ellipse">
            <a:avLst/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7</a:t>
            </a:r>
            <a:endParaRPr lang="en-US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770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18497"/>
                </a:solidFill>
              </a:rPr>
              <a:t>What is social cohesion?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13" name="Picture 279" descr="falling puzzle.wmf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0" cstate="print">
            <a:clrChange>
              <a:clrFrom>
                <a:srgbClr val="BFBFBF"/>
              </a:clrFrom>
              <a:clrTo>
                <a:srgbClr val="BFBFBF">
                  <a:alpha val="0"/>
                </a:srgbClr>
              </a:clrTo>
            </a:clrChange>
            <a:lum bright="20000" contrast="-40000"/>
          </a:blip>
          <a:srcRect l="1" r="1051" b="9574"/>
          <a:stretch/>
        </p:blipFill>
        <p:spPr bwMode="auto">
          <a:xfrm>
            <a:off x="4614834" y="898995"/>
            <a:ext cx="3830116" cy="5180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5958810" y="1352959"/>
            <a:ext cx="1692537" cy="330072"/>
          </a:xfrm>
          <a:prstGeom prst="rect">
            <a:avLst/>
          </a:prstGeom>
          <a:solidFill>
            <a:srgbClr val="FFFFFF">
              <a:alpha val="3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Access to opportunit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7651347" y="4891587"/>
            <a:ext cx="1242759" cy="330072"/>
          </a:xfrm>
          <a:prstGeom prst="rect">
            <a:avLst/>
          </a:prstGeom>
          <a:solidFill>
            <a:srgbClr val="FFFFFF">
              <a:alpha val="27000"/>
            </a:srgbClr>
          </a:solidFill>
          <a:ln w="9525">
            <a:noFill/>
            <a:miter lim="800000"/>
            <a:headEnd/>
            <a:tailEnd/>
          </a:ln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National identit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Rectangle 16"/>
          <p:cNvSpPr/>
          <p:nvPr>
            <p:custDataLst>
              <p:tags r:id="rId4"/>
            </p:custDataLst>
          </p:nvPr>
        </p:nvSpPr>
        <p:spPr bwMode="auto">
          <a:xfrm>
            <a:off x="3990873" y="2041607"/>
            <a:ext cx="2177891" cy="330072"/>
          </a:xfrm>
          <a:prstGeom prst="rect">
            <a:avLst/>
          </a:prstGeom>
          <a:solidFill>
            <a:srgbClr val="FFFFFF">
              <a:alpha val="3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ride and sense of belonging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>
            <p:custDataLst>
              <p:tags r:id="rId5"/>
            </p:custDataLst>
          </p:nvPr>
        </p:nvSpPr>
        <p:spPr bwMode="auto">
          <a:xfrm>
            <a:off x="6236970" y="4046777"/>
            <a:ext cx="1228913" cy="330072"/>
          </a:xfrm>
          <a:prstGeom prst="rect">
            <a:avLst/>
          </a:prstGeom>
          <a:solidFill>
            <a:srgbClr val="FFFFFF">
              <a:alpha val="3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Inclusion for all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6"/>
            </p:custDataLst>
          </p:nvPr>
        </p:nvSpPr>
        <p:spPr bwMode="auto">
          <a:xfrm>
            <a:off x="5715488" y="711265"/>
            <a:ext cx="1135939" cy="330072"/>
          </a:xfrm>
          <a:prstGeom prst="rect">
            <a:avLst/>
          </a:prstGeom>
          <a:solidFill>
            <a:srgbClr val="FFFFFF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Shared value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>
            <p:custDataLst>
              <p:tags r:id="rId7"/>
            </p:custDataLst>
          </p:nvPr>
        </p:nvSpPr>
        <p:spPr bwMode="auto">
          <a:xfrm>
            <a:off x="4403951" y="5324642"/>
            <a:ext cx="1165725" cy="884070"/>
          </a:xfrm>
          <a:prstGeom prst="rect">
            <a:avLst/>
          </a:prstGeom>
          <a:solidFill>
            <a:srgbClr val="FFFFFF">
              <a:alpha val="2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squar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Appropriate infrastructure and access to services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0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V="1">
            <a:off x="6191206" y="5402551"/>
            <a:ext cx="1971144" cy="699404"/>
          </a:xfrm>
          <a:prstGeom prst="rect">
            <a:avLst/>
          </a:prstGeom>
          <a:solidFill>
            <a:srgbClr val="FFFFFF">
              <a:alpha val="23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Participation in employment, education and community lif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1" name="AutoShap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flipV="1">
            <a:off x="3961533" y="4376849"/>
            <a:ext cx="1836832" cy="514738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Building connections through sport and art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>
            <p:custDataLst>
              <p:tags r:id="rId10"/>
            </p:custDataLst>
          </p:nvPr>
        </p:nvSpPr>
        <p:spPr bwMode="auto">
          <a:xfrm>
            <a:off x="4255148" y="3357664"/>
            <a:ext cx="1552720" cy="330072"/>
          </a:xfrm>
          <a:prstGeom prst="rect">
            <a:avLst/>
          </a:prstGeom>
          <a:solidFill>
            <a:srgbClr val="FFFFFF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Respecting diversit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>
            <p:custDataLst>
              <p:tags r:id="rId11"/>
            </p:custDataLst>
          </p:nvPr>
        </p:nvSpPr>
        <p:spPr bwMode="auto">
          <a:xfrm>
            <a:off x="4775671" y="1452634"/>
            <a:ext cx="616566" cy="330072"/>
          </a:xfrm>
          <a:prstGeom prst="rect">
            <a:avLst/>
          </a:prstGeom>
          <a:solidFill>
            <a:srgbClr val="FFFFFF">
              <a:alpha val="2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Safet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4" name="AutoShape 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V="1">
            <a:off x="5914280" y="3031246"/>
            <a:ext cx="1461882" cy="330072"/>
          </a:xfrm>
          <a:prstGeom prst="rect">
            <a:avLst/>
          </a:prstGeom>
          <a:solidFill>
            <a:srgbClr val="FFFFFF">
              <a:alpha val="25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Trust in institutions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AutoShape 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flipV="1">
            <a:off x="6664225" y="2203454"/>
            <a:ext cx="1620686" cy="330072"/>
          </a:xfrm>
          <a:prstGeom prst="rect">
            <a:avLst/>
          </a:prstGeom>
          <a:solidFill>
            <a:srgbClr val="FFFFFF">
              <a:alpha val="3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Fairness and equalit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6" name="AutoShape 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V="1">
            <a:off x="7915796" y="3559228"/>
            <a:ext cx="908888" cy="330072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rot="10800000" wrap="square" lIns="108000" tIns="72000" rIns="0" bIns="7200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Wellbeing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>
            <p:custDataLst>
              <p:tags r:id="rId15"/>
            </p:custDataLst>
          </p:nvPr>
        </p:nvSpPr>
        <p:spPr bwMode="auto">
          <a:xfrm>
            <a:off x="5044894" y="2501923"/>
            <a:ext cx="1418067" cy="330072"/>
          </a:xfrm>
          <a:prstGeom prst="rect">
            <a:avLst/>
          </a:prstGeom>
          <a:solidFill>
            <a:srgbClr val="FFFFFF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Economic security</a:t>
            </a:r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786858"/>
              </p:ext>
            </p:extLst>
          </p:nvPr>
        </p:nvGraphicFramePr>
        <p:xfrm>
          <a:off x="454018" y="1686027"/>
          <a:ext cx="2411102" cy="3474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11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442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A community that sticks together, where people connect, share resources, support each other and work together to achieve collective goals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9" name="Rectangle 28"/>
          <p:cNvSpPr/>
          <p:nvPr>
            <p:custDataLst>
              <p:tags r:id="rId16"/>
            </p:custDataLst>
          </p:nvPr>
        </p:nvSpPr>
        <p:spPr bwMode="auto">
          <a:xfrm>
            <a:off x="5122376" y="4914281"/>
            <a:ext cx="866634" cy="330072"/>
          </a:xfrm>
          <a:prstGeom prst="rect">
            <a:avLst/>
          </a:prstGeom>
          <a:solidFill>
            <a:srgbClr val="FFFFFF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Resilienc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0" name="Rectangle 29"/>
          <p:cNvSpPr/>
          <p:nvPr>
            <p:custDataLst>
              <p:tags r:id="rId17"/>
            </p:custDataLst>
          </p:nvPr>
        </p:nvSpPr>
        <p:spPr bwMode="auto">
          <a:xfrm>
            <a:off x="7519894" y="2832820"/>
            <a:ext cx="1373183" cy="330072"/>
          </a:xfrm>
          <a:prstGeom prst="rect">
            <a:avLst/>
          </a:prstGeom>
          <a:solidFill>
            <a:srgbClr val="FFFFFF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chemeClr val="tx2">
                <a:lumMod val="20000"/>
                <a:lumOff val="80000"/>
              </a:schemeClr>
            </a:outerShdw>
          </a:effectLst>
        </p:spPr>
        <p:txBody>
          <a:bodyPr wrap="none" lIns="108000" tIns="72000" bIns="72000" anchor="ctr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n-US" sz="1200" dirty="0" smtClean="0">
                <a:solidFill>
                  <a:srgbClr val="000000"/>
                </a:solidFill>
              </a:rPr>
              <a:t>National symbol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7465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3182052" cy="1228028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Social cohesion in Canada and Australia – at a glance 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847901"/>
              </p:ext>
            </p:extLst>
          </p:nvPr>
        </p:nvGraphicFramePr>
        <p:xfrm>
          <a:off x="457200" y="2969679"/>
          <a:ext cx="2889849" cy="3474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98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365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Both countries fare well on a range of aspects of well-being and social cohesion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24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However, we are also affected by disruptive trends around the world</a:t>
                      </a:r>
                      <a:endParaRPr lang="en-AU" sz="2400" i="1" kern="100" spc="0" baseline="0" dirty="0" smtClean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5660562" y="2528289"/>
            <a:ext cx="3483438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3000000" sx="98000" sy="98000" algn="t" rotWithShape="0">
              <a:schemeClr val="bg2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r>
              <a:rPr lang="en-AU" b="1" dirty="0" smtClean="0">
                <a:solidFill>
                  <a:schemeClr val="tx2"/>
                </a:solidFill>
                <a:latin typeface="+mj-lt"/>
              </a:rPr>
              <a:t>OECD 2017 Better Life Index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5244" y="684367"/>
            <a:ext cx="5162550" cy="184785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83027" y="684367"/>
            <a:ext cx="306978" cy="153489"/>
          </a:xfrm>
          <a:prstGeom prst="rect">
            <a:avLst/>
          </a:prstGeom>
        </p:spPr>
      </p:pic>
      <p:pic>
        <p:nvPicPr>
          <p:cNvPr id="17" name="Picture 1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497" y="656602"/>
            <a:ext cx="341406" cy="181254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834645"/>
              </p:ext>
            </p:extLst>
          </p:nvPr>
        </p:nvGraphicFramePr>
        <p:xfrm>
          <a:off x="3815244" y="2906016"/>
          <a:ext cx="5162550" cy="3754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1050">
                  <a:extLst>
                    <a:ext uri="{9D8B030D-6E8A-4147-A177-3AD203B41FA5}">
                      <a16:colId xmlns:a16="http://schemas.microsoft.com/office/drawing/2014/main" val="3363901012"/>
                    </a:ext>
                  </a:extLst>
                </a:gridCol>
                <a:gridCol w="2321500">
                  <a:extLst>
                    <a:ext uri="{9D8B030D-6E8A-4147-A177-3AD203B41FA5}">
                      <a16:colId xmlns:a16="http://schemas.microsoft.com/office/drawing/2014/main" val="1847892708"/>
                    </a:ext>
                  </a:extLst>
                </a:gridCol>
              </a:tblGrid>
              <a:tr h="326357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Risk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y lead to</a:t>
                      </a:r>
                      <a:endParaRPr lang="en-A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6872747"/>
                  </a:ext>
                </a:extLst>
              </a:tr>
              <a:tr h="530331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Decreased sense of belonging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Lower participation </a:t>
                      </a:r>
                    </a:p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Increased</a:t>
                      </a:r>
                      <a:r>
                        <a:rPr lang="en-US" sz="1500" baseline="0" dirty="0" smtClean="0"/>
                        <a:t> marginalization</a:t>
                      </a:r>
                      <a:endParaRPr lang="en-AU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6450646"/>
                  </a:ext>
                </a:extLst>
              </a:tr>
              <a:tr h="652715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Increase</a:t>
                      </a:r>
                      <a:r>
                        <a:rPr lang="en-US" sz="1500" baseline="0" dirty="0" smtClean="0"/>
                        <a:t> in fear of individuals/groups</a:t>
                      </a:r>
                    </a:p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baseline="0" dirty="0" smtClean="0"/>
                        <a:t>Discrimination and racism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More marginalized and segregated</a:t>
                      </a:r>
                      <a:r>
                        <a:rPr lang="en-US" sz="1500" baseline="0" dirty="0" smtClean="0"/>
                        <a:t> communities or ‘enclaves’</a:t>
                      </a:r>
                      <a:endParaRPr lang="en-AU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6779253"/>
                  </a:ext>
                </a:extLst>
              </a:tr>
              <a:tr h="580068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Continued decline of trust in government and other institutions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Lack of engagement in</a:t>
                      </a:r>
                      <a:r>
                        <a:rPr lang="en-US" sz="1500" baseline="0" dirty="0" smtClean="0"/>
                        <a:t> and with government and its services</a:t>
                      </a:r>
                      <a:endParaRPr lang="en-AU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633148"/>
                  </a:ext>
                </a:extLst>
              </a:tr>
              <a:tr h="652715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Increase in perceptions</a:t>
                      </a:r>
                      <a:r>
                        <a:rPr lang="en-US" sz="1500" baseline="0" dirty="0" smtClean="0"/>
                        <a:t> that some are deserving/undeserving of government support</a:t>
                      </a:r>
                      <a:endParaRPr lang="en-AU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500" dirty="0" smtClean="0"/>
                        <a:t>Grievances, disputes and divisions in community</a:t>
                      </a:r>
                      <a:endParaRPr lang="en-AU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54320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827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2302" y="469171"/>
            <a:ext cx="7960660" cy="484094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Public trust and perceptions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7511100"/>
              </p:ext>
            </p:extLst>
          </p:nvPr>
        </p:nvGraphicFramePr>
        <p:xfrm>
          <a:off x="457200" y="1856048"/>
          <a:ext cx="2528047" cy="4206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8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238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2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Canadians and Australians trust their governments and other institutions less than they did previousl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22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2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When governance is failing and people lose trust in institutions, the whole community feels the impact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12003" y="1131592"/>
            <a:ext cx="2263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 dirty="0" smtClean="0">
                <a:solidFill>
                  <a:srgbClr val="0C606E"/>
                </a:solidFill>
              </a:rPr>
              <a:t>Public trust </a:t>
            </a:r>
            <a:r>
              <a:rPr lang="en-AU" sz="1200" i="1" dirty="0" smtClean="0"/>
              <a:t> </a:t>
            </a:r>
            <a:endParaRPr lang="en-AU" sz="1200" i="1" dirty="0"/>
          </a:p>
        </p:txBody>
      </p:sp>
      <p:grpSp>
        <p:nvGrpSpPr>
          <p:cNvPr id="10" name="Group 9"/>
          <p:cNvGrpSpPr/>
          <p:nvPr/>
        </p:nvGrpSpPr>
        <p:grpSpPr>
          <a:xfrm>
            <a:off x="457200" y="1052723"/>
            <a:ext cx="619402" cy="619402"/>
            <a:chOff x="7221383" y="1973822"/>
            <a:chExt cx="619402" cy="619402"/>
          </a:xfrm>
        </p:grpSpPr>
        <p:sp>
          <p:nvSpPr>
            <p:cNvPr id="14" name="Oval 13"/>
            <p:cNvSpPr/>
            <p:nvPr/>
          </p:nvSpPr>
          <p:spPr>
            <a:xfrm>
              <a:off x="7221383" y="1973822"/>
              <a:ext cx="619402" cy="61940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5000"/>
                </a:lnSpc>
              </a:pPr>
              <a:endParaRPr lang="en-AU" b="1" dirty="0" smtClean="0">
                <a:solidFill>
                  <a:srgbClr val="3C3D3E"/>
                </a:solidFill>
                <a:latin typeface="Arial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6485" y="2094864"/>
              <a:ext cx="329199" cy="326042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3201202" y="3876037"/>
            <a:ext cx="5853430" cy="2413635"/>
            <a:chOff x="0" y="0"/>
            <a:chExt cx="5853430" cy="2413635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5731510" cy="2413635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8000" y="169333"/>
              <a:ext cx="265430" cy="2244090"/>
            </a:xfrm>
            <a:prstGeom prst="rect">
              <a:avLst/>
            </a:prstGeom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9489" y="1302231"/>
            <a:ext cx="3708305" cy="24833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8157" y="3513067"/>
            <a:ext cx="341406" cy="170703"/>
          </a:xfrm>
          <a:prstGeom prst="rect">
            <a:avLst/>
          </a:prstGeom>
        </p:spPr>
      </p:pic>
      <p:pic>
        <p:nvPicPr>
          <p:cNvPr id="25" name="Picture 24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3825" y="3564297"/>
            <a:ext cx="370205" cy="221248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08579" y="6062288"/>
            <a:ext cx="341406" cy="170703"/>
          </a:xfrm>
          <a:prstGeom prst="rect">
            <a:avLst/>
          </a:prstGeom>
        </p:spPr>
      </p:pic>
      <p:pic>
        <p:nvPicPr>
          <p:cNvPr id="27" name="Picture 26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2522" y="5835788"/>
            <a:ext cx="341406" cy="181254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>
          <a:xfrm>
            <a:off x="7581940" y="1798223"/>
            <a:ext cx="1501284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3000000" sx="98000" sy="98000" algn="t" rotWithShape="0">
              <a:schemeClr val="bg2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r>
              <a:rPr lang="en-AU" b="1" dirty="0" smtClean="0">
                <a:solidFill>
                  <a:schemeClr val="tx2"/>
                </a:solidFill>
                <a:latin typeface="+mj-lt"/>
              </a:rPr>
              <a:t>Edelman, 2018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507795" y="6214203"/>
            <a:ext cx="1501284" cy="3030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3000000" sx="98000" sy="98000" algn="t" rotWithShape="0">
              <a:schemeClr val="bg2">
                <a:alpha val="17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5000"/>
              </a:lnSpc>
            </a:pPr>
            <a:r>
              <a:rPr lang="en-AU" b="1" dirty="0" smtClean="0">
                <a:solidFill>
                  <a:schemeClr val="tx2"/>
                </a:solidFill>
                <a:latin typeface="+mj-lt"/>
              </a:rPr>
              <a:t>Ipsos,2018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41375" y="960866"/>
            <a:ext cx="4533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ublic trust in government</a:t>
            </a:r>
            <a:endParaRPr lang="en-AU" b="1" dirty="0"/>
          </a:p>
        </p:txBody>
      </p:sp>
    </p:spTree>
    <p:extLst>
      <p:ext uri="{BB962C8B-B14F-4D97-AF65-F5344CB8AC3E}">
        <p14:creationId xmlns:p14="http://schemas.microsoft.com/office/powerpoint/2010/main" val="427098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2302" y="469171"/>
            <a:ext cx="7960660" cy="484094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Public trust and perceptions (cont.)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483939"/>
              </p:ext>
            </p:extLst>
          </p:nvPr>
        </p:nvGraphicFramePr>
        <p:xfrm>
          <a:off x="457200" y="2253134"/>
          <a:ext cx="3079630" cy="298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796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4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3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Canada and Australia rate well  on the economic growth fron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23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3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However, some people are increasingly anxious about a comparable future and opportunities</a:t>
                      </a:r>
                      <a:endParaRPr lang="en-AU" sz="2300" i="1" kern="100" spc="0" baseline="0" dirty="0" smtClean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58551" y="1141534"/>
            <a:ext cx="28159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 dirty="0" smtClean="0">
                <a:solidFill>
                  <a:srgbClr val="0C606E"/>
                </a:solidFill>
              </a:rPr>
              <a:t>Economic security </a:t>
            </a:r>
            <a:endParaRPr lang="en-AU" sz="1200" i="1" dirty="0"/>
          </a:p>
        </p:txBody>
      </p:sp>
      <p:grpSp>
        <p:nvGrpSpPr>
          <p:cNvPr id="18" name="Group 17"/>
          <p:cNvGrpSpPr/>
          <p:nvPr/>
        </p:nvGrpSpPr>
        <p:grpSpPr>
          <a:xfrm>
            <a:off x="464234" y="1079161"/>
            <a:ext cx="619402" cy="619402"/>
            <a:chOff x="4324388" y="2844104"/>
            <a:chExt cx="619402" cy="619402"/>
          </a:xfrm>
        </p:grpSpPr>
        <p:sp>
          <p:nvSpPr>
            <p:cNvPr id="19" name="Oval 18"/>
            <p:cNvSpPr/>
            <p:nvPr/>
          </p:nvSpPr>
          <p:spPr>
            <a:xfrm>
              <a:off x="4324388" y="2844104"/>
              <a:ext cx="619402" cy="619402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>
              <a:outerShdw dist="38100" dir="5400000" algn="t" rotWithShape="0">
                <a:schemeClr val="bg2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5000"/>
                </a:lnSpc>
              </a:pPr>
              <a:endParaRPr lang="en-AU" b="1" dirty="0" smtClean="0">
                <a:solidFill>
                  <a:srgbClr val="3C3D3E"/>
                </a:solidFill>
                <a:latin typeface="Arial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59907" y="3040500"/>
              <a:ext cx="348365" cy="264722"/>
            </a:xfrm>
            <a:prstGeom prst="rect">
              <a:avLst/>
            </a:prstGeom>
          </p:spPr>
        </p:pic>
      </p:grpSp>
      <p:sp>
        <p:nvSpPr>
          <p:cNvPr id="8" name="TextBox 7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pic>
        <p:nvPicPr>
          <p:cNvPr id="10" name="Picture 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778" y="1345538"/>
            <a:ext cx="650609" cy="40126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844" y="1370576"/>
            <a:ext cx="792608" cy="39630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864053" y="1950637"/>
            <a:ext cx="2610969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rgbClr val="0C606E"/>
                </a:solidFill>
              </a:rPr>
              <a:t>58% </a:t>
            </a:r>
            <a:r>
              <a:rPr lang="en-AU" dirty="0">
                <a:solidFill>
                  <a:srgbClr val="0C606E"/>
                </a:solidFill>
              </a:rPr>
              <a:t>of </a:t>
            </a:r>
            <a:r>
              <a:rPr lang="en-AU" dirty="0" smtClean="0">
                <a:solidFill>
                  <a:srgbClr val="0C606E"/>
                </a:solidFill>
              </a:rPr>
              <a:t>Canadians feel the next generation would have a lower standard of living than they presently do</a:t>
            </a:r>
          </a:p>
          <a:p>
            <a:pPr algn="ctr">
              <a:spcBef>
                <a:spcPts val="600"/>
              </a:spcBef>
            </a:pPr>
            <a:r>
              <a:rPr lang="en-AU" i="1" dirty="0" err="1" smtClean="0"/>
              <a:t>Ekos</a:t>
            </a:r>
            <a:r>
              <a:rPr lang="en-AU" i="1" dirty="0" smtClean="0"/>
              <a:t>, October 2017</a:t>
            </a:r>
            <a:endParaRPr lang="en-AU" i="1" dirty="0"/>
          </a:p>
        </p:txBody>
      </p:sp>
      <p:sp>
        <p:nvSpPr>
          <p:cNvPr id="15" name="TextBox 14"/>
          <p:cNvSpPr txBox="1"/>
          <p:nvPr/>
        </p:nvSpPr>
        <p:spPr>
          <a:xfrm>
            <a:off x="3904348" y="4116129"/>
            <a:ext cx="2570673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chemeClr val="accent5">
                    <a:lumMod val="50000"/>
                  </a:schemeClr>
                </a:solidFill>
              </a:rPr>
              <a:t>88% </a:t>
            </a:r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of Canadians are concerned or somewhat concerned about the affordability of housing</a:t>
            </a:r>
          </a:p>
          <a:p>
            <a:pPr algn="ctr">
              <a:spcBef>
                <a:spcPts val="600"/>
              </a:spcBef>
            </a:pPr>
            <a:r>
              <a:rPr lang="en-AU" i="1" dirty="0" smtClean="0"/>
              <a:t>2017 Nanos </a:t>
            </a:r>
            <a:endParaRPr lang="en-AU" i="1" dirty="0"/>
          </a:p>
        </p:txBody>
      </p:sp>
      <p:sp>
        <p:nvSpPr>
          <p:cNvPr id="17" name="TextBox 16"/>
          <p:cNvSpPr txBox="1"/>
          <p:nvPr/>
        </p:nvSpPr>
        <p:spPr>
          <a:xfrm>
            <a:off x="6475022" y="1979821"/>
            <a:ext cx="2648830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rgbClr val="0C606E"/>
                </a:solidFill>
              </a:rPr>
              <a:t>60% </a:t>
            </a:r>
            <a:r>
              <a:rPr lang="en-AU" dirty="0" smtClean="0">
                <a:solidFill>
                  <a:srgbClr val="0C606E"/>
                </a:solidFill>
              </a:rPr>
              <a:t>of Australians agree that ‘getting ahead is becoming harder’</a:t>
            </a: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7 Building and Fostering Community Cohesion </a:t>
            </a:r>
            <a:endParaRPr lang="en-AU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6481283" y="4129346"/>
            <a:ext cx="2472936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chemeClr val="accent5">
                    <a:lumMod val="50000"/>
                  </a:schemeClr>
                </a:solidFill>
              </a:rPr>
              <a:t>1 in 4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Australians </a:t>
            </a:r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believes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the great Australian dream of owning a home is </a:t>
            </a:r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over </a:t>
            </a: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8 Salvation Army</a:t>
            </a:r>
            <a:endParaRPr lang="en-AU" i="1" dirty="0"/>
          </a:p>
        </p:txBody>
      </p:sp>
    </p:spTree>
    <p:extLst>
      <p:ext uri="{BB962C8B-B14F-4D97-AF65-F5344CB8AC3E}">
        <p14:creationId xmlns:p14="http://schemas.microsoft.com/office/powerpoint/2010/main" val="202062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2302" y="469171"/>
            <a:ext cx="7960660" cy="484094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Public trust and perceptions (cont.)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553938"/>
              </p:ext>
            </p:extLst>
          </p:nvPr>
        </p:nvGraphicFramePr>
        <p:xfrm>
          <a:off x="457200" y="2253134"/>
          <a:ext cx="2528047" cy="35356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8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4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2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Public support for the value of immigration and the importance of diversity remain strong in both countri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22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However, some negative trends have started to emerge</a:t>
                      </a:r>
                      <a:endParaRPr lang="en-AU" sz="2200" i="1" kern="100" spc="0" baseline="0" dirty="0" smtClean="0">
                        <a:solidFill>
                          <a:schemeClr val="accent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58551" y="1141534"/>
            <a:ext cx="28159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 dirty="0" smtClean="0">
                <a:solidFill>
                  <a:srgbClr val="0C606E"/>
                </a:solidFill>
              </a:rPr>
              <a:t>Diversity and immigration </a:t>
            </a:r>
            <a:endParaRPr lang="en-AU" sz="1200" i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02" y="1141534"/>
            <a:ext cx="693303" cy="69330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279" y="1149782"/>
            <a:ext cx="792608" cy="396304"/>
          </a:xfrm>
          <a:prstGeom prst="rect">
            <a:avLst/>
          </a:prstGeom>
        </p:spPr>
      </p:pic>
      <p:pic>
        <p:nvPicPr>
          <p:cNvPr id="11" name="Picture 1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778" y="1155763"/>
            <a:ext cx="650609" cy="40126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765453" y="1697836"/>
            <a:ext cx="26109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AU" b="1" dirty="0" smtClean="0">
                <a:solidFill>
                  <a:srgbClr val="0C606E"/>
                </a:solidFill>
              </a:rPr>
              <a:t>80% </a:t>
            </a:r>
            <a:r>
              <a:rPr lang="en-AU" dirty="0" smtClean="0">
                <a:solidFill>
                  <a:srgbClr val="0C606E"/>
                </a:solidFill>
              </a:rPr>
              <a:t>of </a:t>
            </a:r>
            <a:r>
              <a:rPr lang="en-AU" dirty="0">
                <a:solidFill>
                  <a:srgbClr val="0C606E"/>
                </a:solidFill>
              </a:rPr>
              <a:t>Canadians believe that immigration is good for the country’s economy </a:t>
            </a:r>
            <a:r>
              <a:rPr lang="en-AU" i="1" dirty="0" smtClean="0"/>
              <a:t>2018 </a:t>
            </a:r>
            <a:r>
              <a:rPr lang="en-AU" i="1" dirty="0"/>
              <a:t>Environics</a:t>
            </a:r>
            <a:r>
              <a:rPr lang="en-AU" i="1" dirty="0" smtClean="0"/>
              <a:t> Institute</a:t>
            </a:r>
            <a:endParaRPr lang="en-AU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3713022" y="3666685"/>
            <a:ext cx="271583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chemeClr val="accent5">
                    <a:lumMod val="50000"/>
                  </a:schemeClr>
                </a:solidFill>
              </a:rPr>
              <a:t>54%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of </a:t>
            </a:r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Canadians agree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‘there are too many immigrants coming into this country who are not adopting Canadian values’ </a:t>
            </a:r>
            <a:endParaRPr lang="en-AU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en-AU" i="1" dirty="0" smtClean="0"/>
              <a:t>2017 Environics              Institute</a:t>
            </a:r>
            <a:endParaRPr lang="en-AU" i="1" dirty="0"/>
          </a:p>
        </p:txBody>
      </p:sp>
      <p:sp>
        <p:nvSpPr>
          <p:cNvPr id="14" name="TextBox 13"/>
          <p:cNvSpPr txBox="1"/>
          <p:nvPr/>
        </p:nvSpPr>
        <p:spPr>
          <a:xfrm>
            <a:off x="6376422" y="1619459"/>
            <a:ext cx="27069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rgbClr val="0C606E"/>
                </a:solidFill>
              </a:rPr>
              <a:t>66%</a:t>
            </a:r>
            <a:r>
              <a:rPr lang="en-AU" dirty="0" smtClean="0">
                <a:solidFill>
                  <a:srgbClr val="0C606E"/>
                </a:solidFill>
              </a:rPr>
              <a:t> of Australians believe </a:t>
            </a:r>
            <a:r>
              <a:rPr lang="en-AU" dirty="0">
                <a:solidFill>
                  <a:srgbClr val="0C606E"/>
                </a:solidFill>
              </a:rPr>
              <a:t>that ‘accepting immigrants from many different countries makes Australia stronger </a:t>
            </a:r>
            <a:endParaRPr lang="en-AU" dirty="0" smtClean="0">
              <a:solidFill>
                <a:srgbClr val="0C606E"/>
              </a:solidFill>
            </a:endParaRPr>
          </a:p>
          <a:p>
            <a:pPr algn="ctr"/>
            <a:r>
              <a:rPr lang="en-US" i="1" dirty="0" smtClean="0"/>
              <a:t>2018 Scanlon Foundation</a:t>
            </a:r>
            <a:endParaRPr lang="en-AU" i="1" dirty="0"/>
          </a:p>
        </p:txBody>
      </p:sp>
      <p:sp>
        <p:nvSpPr>
          <p:cNvPr id="15" name="TextBox 14"/>
          <p:cNvSpPr txBox="1"/>
          <p:nvPr/>
        </p:nvSpPr>
        <p:spPr>
          <a:xfrm>
            <a:off x="6428852" y="3701308"/>
            <a:ext cx="2525367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chemeClr val="accent5">
                    <a:lumMod val="50000"/>
                  </a:schemeClr>
                </a:solidFill>
              </a:rPr>
              <a:t>41% </a:t>
            </a:r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of Australians are questioning if Australia is too open to people from all over the world, and therefore, at risk of losing Australia’s identity as a nation</a:t>
            </a: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8 Lowy Institute</a:t>
            </a:r>
            <a:endParaRPr lang="en-AU" i="1" dirty="0"/>
          </a:p>
        </p:txBody>
      </p:sp>
    </p:spTree>
    <p:extLst>
      <p:ext uri="{BB962C8B-B14F-4D97-AF65-F5344CB8AC3E}">
        <p14:creationId xmlns:p14="http://schemas.microsoft.com/office/powerpoint/2010/main" val="1052831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2302" y="469171"/>
            <a:ext cx="7960660" cy="484094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Public trust and perceptions (cont.)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922555"/>
              </p:ext>
            </p:extLst>
          </p:nvPr>
        </p:nvGraphicFramePr>
        <p:xfrm>
          <a:off x="457200" y="2253134"/>
          <a:ext cx="2389517" cy="27432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895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4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Many Canadians and Australians still report that they have faced discrimination at some point in their life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58551" y="1141534"/>
            <a:ext cx="28159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2400" b="1" dirty="0" smtClean="0">
                <a:solidFill>
                  <a:srgbClr val="0C606E"/>
                </a:solidFill>
              </a:rPr>
              <a:t>Discrimination</a:t>
            </a:r>
            <a:endParaRPr lang="en-AU" sz="1200" i="1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02" y="1157300"/>
            <a:ext cx="597409" cy="60880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279" y="908380"/>
            <a:ext cx="792608" cy="396304"/>
          </a:xfrm>
          <a:prstGeom prst="rect">
            <a:avLst/>
          </a:prstGeom>
        </p:spPr>
      </p:pic>
      <p:pic>
        <p:nvPicPr>
          <p:cNvPr id="13" name="Picture 12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738" y="876393"/>
            <a:ext cx="650609" cy="40126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485072" y="1492953"/>
            <a:ext cx="290029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chemeClr val="accent5">
                    <a:lumMod val="50000"/>
                  </a:schemeClr>
                </a:solidFill>
              </a:rPr>
              <a:t>63%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of visible minority respondents believed their experience was based on their race or skin colour, while 21% of visible minority females reported being a victim of discrimination </a:t>
            </a:r>
            <a:endParaRPr lang="en-AU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en-AU" i="1" dirty="0" smtClean="0"/>
              <a:t>2014 General Social Survey</a:t>
            </a:r>
            <a:endParaRPr lang="en-AU" i="1" dirty="0"/>
          </a:p>
        </p:txBody>
      </p:sp>
      <p:sp>
        <p:nvSpPr>
          <p:cNvPr id="19" name="TextBox 18"/>
          <p:cNvSpPr txBox="1"/>
          <p:nvPr/>
        </p:nvSpPr>
        <p:spPr>
          <a:xfrm>
            <a:off x="6290349" y="1514968"/>
            <a:ext cx="2767386" cy="2385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dirty="0" smtClean="0">
                <a:solidFill>
                  <a:schemeClr val="accent5">
                    <a:lumMod val="50000"/>
                  </a:schemeClr>
                </a:solidFill>
              </a:rPr>
              <a:t>Proportion 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of Australians indicating experience of discrimination because of skin colour, ethnicity or religion has </a:t>
            </a:r>
            <a:r>
              <a:rPr lang="en-AU" b="1" dirty="0">
                <a:solidFill>
                  <a:schemeClr val="accent5">
                    <a:lumMod val="50000"/>
                  </a:schemeClr>
                </a:solidFill>
              </a:rPr>
              <a:t>more than doubled</a:t>
            </a:r>
            <a:r>
              <a:rPr lang="en-AU" dirty="0">
                <a:solidFill>
                  <a:schemeClr val="accent5">
                    <a:lumMod val="50000"/>
                  </a:schemeClr>
                </a:solidFill>
              </a:rPr>
              <a:t>, from 9% in 2007 to 19% in 2018</a:t>
            </a:r>
            <a:endParaRPr lang="en-AU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8 Scanlon Foundation</a:t>
            </a:r>
            <a:endParaRPr lang="en-AU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6462877" y="4267873"/>
            <a:ext cx="2594858" cy="18312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46% 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of Indigenous people reported experiencing prejudice, (39% two years before)</a:t>
            </a:r>
            <a:endParaRPr lang="en-AU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6 Reconciliation Australia</a:t>
            </a:r>
            <a:endParaRPr lang="en-AU" i="1" dirty="0"/>
          </a:p>
        </p:txBody>
      </p:sp>
      <p:sp>
        <p:nvSpPr>
          <p:cNvPr id="21" name="TextBox 20"/>
          <p:cNvSpPr txBox="1"/>
          <p:nvPr/>
        </p:nvSpPr>
        <p:spPr>
          <a:xfrm>
            <a:off x="3695491" y="4206871"/>
            <a:ext cx="2767386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Most Canadians believe there is on-going discrimination against ethnic and racial groups, especially Muslims and Indigenous People</a:t>
            </a:r>
            <a:endParaRPr lang="en-AU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i="1" dirty="0" smtClean="0"/>
              <a:t>2014 </a:t>
            </a:r>
            <a:r>
              <a:rPr lang="en-US" i="1" dirty="0" err="1" smtClean="0"/>
              <a:t>Environics</a:t>
            </a:r>
            <a:r>
              <a:rPr lang="en-US" i="1" dirty="0" smtClean="0"/>
              <a:t> </a:t>
            </a:r>
            <a:endParaRPr lang="en-AU" i="1" dirty="0"/>
          </a:p>
        </p:txBody>
      </p:sp>
    </p:spTree>
    <p:extLst>
      <p:ext uri="{BB962C8B-B14F-4D97-AF65-F5344CB8AC3E}">
        <p14:creationId xmlns:p14="http://schemas.microsoft.com/office/powerpoint/2010/main" val="1094109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2302" y="469171"/>
            <a:ext cx="7960660" cy="484094"/>
          </a:xfrm>
        </p:spPr>
        <p:txBody>
          <a:bodyPr/>
          <a:lstStyle/>
          <a:p>
            <a:r>
              <a:rPr lang="en-US" dirty="0" smtClean="0">
                <a:solidFill>
                  <a:srgbClr val="118E97"/>
                </a:solidFill>
              </a:rPr>
              <a:t>Public trust and perceptions (cont.)</a:t>
            </a:r>
            <a:endParaRPr lang="en-US" dirty="0">
              <a:solidFill>
                <a:srgbClr val="118E97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77882"/>
              </p:ext>
            </p:extLst>
          </p:nvPr>
        </p:nvGraphicFramePr>
        <p:xfrm>
          <a:off x="602302" y="2253134"/>
          <a:ext cx="2528047" cy="3108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8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440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400" i="1" kern="100" spc="0" baseline="0" dirty="0" smtClean="0">
                          <a:solidFill>
                            <a:schemeClr val="accent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Both Canada and Australia are fortunate to be countries rich in expressions of national pride, sense of belonging, and participation rates</a:t>
                      </a:r>
                    </a:p>
                  </a:txBody>
                  <a:tcPr marL="0" marR="0" marT="91440" marB="9144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199712" y="1141534"/>
            <a:ext cx="28159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b="1" dirty="0" smtClean="0">
                <a:solidFill>
                  <a:srgbClr val="0C606E"/>
                </a:solidFill>
              </a:rPr>
              <a:t>Pride and national identity</a:t>
            </a:r>
            <a:endParaRPr lang="en-AU" sz="1200" i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18" y="1229711"/>
            <a:ext cx="672194" cy="67219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" y="6414099"/>
            <a:ext cx="9143999" cy="443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6279" y="1418526"/>
            <a:ext cx="792608" cy="396304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737" y="1457941"/>
            <a:ext cx="650609" cy="40126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765453" y="2053432"/>
            <a:ext cx="2610969" cy="1779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AU" b="1" dirty="0" smtClean="0">
                <a:solidFill>
                  <a:srgbClr val="0C606E"/>
                </a:solidFill>
              </a:rPr>
              <a:t>87% </a:t>
            </a:r>
            <a:r>
              <a:rPr lang="en-AU" dirty="0" smtClean="0">
                <a:solidFill>
                  <a:srgbClr val="0C606E"/>
                </a:solidFill>
              </a:rPr>
              <a:t>of </a:t>
            </a:r>
            <a:r>
              <a:rPr lang="en-AU" dirty="0">
                <a:solidFill>
                  <a:srgbClr val="0C606E"/>
                </a:solidFill>
              </a:rPr>
              <a:t>Canadians </a:t>
            </a:r>
            <a:r>
              <a:rPr lang="en-AU" dirty="0" smtClean="0">
                <a:solidFill>
                  <a:srgbClr val="0C606E"/>
                </a:solidFill>
              </a:rPr>
              <a:t>are proud to be Canadians</a:t>
            </a:r>
          </a:p>
          <a:p>
            <a:pPr algn="ctr">
              <a:spcBef>
                <a:spcPts val="200"/>
              </a:spcBef>
            </a:pPr>
            <a:r>
              <a:rPr lang="en-AU" b="1" dirty="0">
                <a:solidFill>
                  <a:srgbClr val="0C606E"/>
                </a:solidFill>
              </a:rPr>
              <a:t>90% </a:t>
            </a:r>
            <a:r>
              <a:rPr lang="en-AU" i="1" dirty="0" smtClean="0">
                <a:solidFill>
                  <a:srgbClr val="0C606E"/>
                </a:solidFill>
              </a:rPr>
              <a:t>of Canadians feel strong sense of belonging to Canada </a:t>
            </a:r>
            <a:r>
              <a:rPr lang="en-AU" i="1" dirty="0" err="1" smtClean="0"/>
              <a:t>Canada</a:t>
            </a:r>
            <a:r>
              <a:rPr lang="en-AU" i="1" dirty="0" smtClean="0"/>
              <a:t> 150 Surveys</a:t>
            </a:r>
            <a:endParaRPr lang="en-AU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6320591" y="2066256"/>
            <a:ext cx="270690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b="1" dirty="0" smtClean="0">
                <a:solidFill>
                  <a:srgbClr val="0C606E"/>
                </a:solidFill>
              </a:rPr>
              <a:t>85%</a:t>
            </a:r>
            <a:r>
              <a:rPr lang="en-AU" dirty="0" smtClean="0">
                <a:solidFill>
                  <a:srgbClr val="0C606E"/>
                </a:solidFill>
              </a:rPr>
              <a:t> of Australians have high sense of belonging, identification with Australia and </a:t>
            </a:r>
            <a:r>
              <a:rPr lang="en-AU" dirty="0" err="1" smtClean="0">
                <a:solidFill>
                  <a:srgbClr val="0C606E"/>
                </a:solidFill>
              </a:rPr>
              <a:t>hapiness</a:t>
            </a:r>
            <a:endParaRPr lang="en-AU" dirty="0" smtClean="0">
              <a:solidFill>
                <a:srgbClr val="0C606E"/>
              </a:solidFill>
            </a:endParaRPr>
          </a:p>
          <a:p>
            <a:pPr algn="ctr"/>
            <a:r>
              <a:rPr lang="en-US" i="1" dirty="0" smtClean="0"/>
              <a:t>2018 Scanlon Foundation</a:t>
            </a:r>
            <a:endParaRPr lang="en-AU" i="1" dirty="0"/>
          </a:p>
        </p:txBody>
      </p:sp>
      <p:sp>
        <p:nvSpPr>
          <p:cNvPr id="18" name="TextBox 17"/>
          <p:cNvSpPr txBox="1"/>
          <p:nvPr/>
        </p:nvSpPr>
        <p:spPr>
          <a:xfrm>
            <a:off x="3738355" y="4136117"/>
            <a:ext cx="4824607" cy="1225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</a:pPr>
            <a:r>
              <a:rPr lang="en-AU" b="1" dirty="0" smtClean="0">
                <a:solidFill>
                  <a:srgbClr val="0C606E"/>
                </a:solidFill>
              </a:rPr>
              <a:t>6 in 10 </a:t>
            </a:r>
            <a:r>
              <a:rPr lang="en-AU" dirty="0" smtClean="0">
                <a:solidFill>
                  <a:srgbClr val="0C606E"/>
                </a:solidFill>
              </a:rPr>
              <a:t>Canadians and Australians have undertaken some voluntary work in the past </a:t>
            </a:r>
            <a:r>
              <a:rPr lang="en-AU" i="1" dirty="0" smtClean="0"/>
              <a:t>2013 General Social Survey</a:t>
            </a:r>
          </a:p>
          <a:p>
            <a:pPr algn="ctr">
              <a:spcBef>
                <a:spcPts val="200"/>
              </a:spcBef>
            </a:pPr>
            <a:r>
              <a:rPr lang="en-US" i="1" dirty="0" smtClean="0"/>
              <a:t>2016 Australian Bureau of Statistics</a:t>
            </a:r>
            <a:endParaRPr lang="en-AU" i="1" dirty="0"/>
          </a:p>
        </p:txBody>
      </p:sp>
    </p:spTree>
    <p:extLst>
      <p:ext uri="{BB962C8B-B14F-4D97-AF65-F5344CB8AC3E}">
        <p14:creationId xmlns:p14="http://schemas.microsoft.com/office/powerpoint/2010/main" val="407950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YkZjeFF0yPnjKS8rE.I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qfcj6wEkCQo4dWHd3p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Pw_5kukW9ZNKTxzoi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heh8Be4UaYcGLa5FIHig"/>
</p:tagLst>
</file>

<file path=ppt/theme/theme1.xml><?xml version="1.0" encoding="utf-8"?>
<a:theme xmlns:a="http://schemas.openxmlformats.org/drawingml/2006/main" name="Modern Swiss">
  <a:themeElements>
    <a:clrScheme name="Modern Swiss">
      <a:dk1>
        <a:sysClr val="windowText" lastClr="000000"/>
      </a:dk1>
      <a:lt1>
        <a:sysClr val="window" lastClr="FFFFFF"/>
      </a:lt1>
      <a:dk2>
        <a:srgbClr val="3C3D3E"/>
      </a:dk2>
      <a:lt2>
        <a:srgbClr val="999683"/>
      </a:lt2>
      <a:accent1>
        <a:srgbClr val="E34A06"/>
      </a:accent1>
      <a:accent2>
        <a:srgbClr val="31CCE8"/>
      </a:accent2>
      <a:accent3>
        <a:srgbClr val="C1C139"/>
      </a:accent3>
      <a:accent4>
        <a:srgbClr val="118E97"/>
      </a:accent4>
      <a:accent5>
        <a:srgbClr val="F9BD03"/>
      </a:accent5>
      <a:accent6>
        <a:srgbClr val="407026"/>
      </a:accent6>
      <a:hlink>
        <a:srgbClr val="3C3D3E"/>
      </a:hlink>
      <a:folHlink>
        <a:srgbClr val="999683"/>
      </a:folHlink>
    </a:clrScheme>
    <a:fontScheme name="Modern Swiss">
      <a:majorFont>
        <a:latin typeface="Arial"/>
        <a:ea typeface=""/>
        <a:cs typeface=""/>
      </a:majorFont>
      <a:minorFont>
        <a:latin typeface="Microsoft New Tai L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>
          <a:outerShdw dist="38100" dir="5400000" algn="t" rotWithShape="0">
            <a:schemeClr val="bg2">
              <a:alpha val="20000"/>
            </a:schemeClr>
          </a:outerShdw>
        </a:effectLst>
      </a:spPr>
      <a:bodyPr rtlCol="0" anchor="ctr"/>
      <a:lstStyle>
        <a:defPPr algn="ctr">
          <a:lnSpc>
            <a:spcPct val="95000"/>
          </a:lnSpc>
          <a:defRPr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Modern Swiss">
      <a:dk1>
        <a:sysClr val="windowText" lastClr="000000"/>
      </a:dk1>
      <a:lt1>
        <a:sysClr val="window" lastClr="FFFFFF"/>
      </a:lt1>
      <a:dk2>
        <a:srgbClr val="3C3D3E"/>
      </a:dk2>
      <a:lt2>
        <a:srgbClr val="999683"/>
      </a:lt2>
      <a:accent1>
        <a:srgbClr val="E34A06"/>
      </a:accent1>
      <a:accent2>
        <a:srgbClr val="31CCE8"/>
      </a:accent2>
      <a:accent3>
        <a:srgbClr val="C1C139"/>
      </a:accent3>
      <a:accent4>
        <a:srgbClr val="118E97"/>
      </a:accent4>
      <a:accent5>
        <a:srgbClr val="F9BD03"/>
      </a:accent5>
      <a:accent6>
        <a:srgbClr val="407026"/>
      </a:accent6>
      <a:hlink>
        <a:srgbClr val="3C3D3E"/>
      </a:hlink>
      <a:folHlink>
        <a:srgbClr val="999683"/>
      </a:folHlink>
    </a:clrScheme>
    <a:fontScheme name="Modern Swiss">
      <a:majorFont>
        <a:latin typeface="Arial"/>
        <a:ea typeface=""/>
        <a:cs typeface=""/>
      </a:majorFont>
      <a:minorFont>
        <a:latin typeface="Microsoft New Tai L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odern Swiss">
      <a:dk1>
        <a:sysClr val="windowText" lastClr="000000"/>
      </a:dk1>
      <a:lt1>
        <a:sysClr val="window" lastClr="FFFFFF"/>
      </a:lt1>
      <a:dk2>
        <a:srgbClr val="3C3D3E"/>
      </a:dk2>
      <a:lt2>
        <a:srgbClr val="999683"/>
      </a:lt2>
      <a:accent1>
        <a:srgbClr val="E34A06"/>
      </a:accent1>
      <a:accent2>
        <a:srgbClr val="31CCE8"/>
      </a:accent2>
      <a:accent3>
        <a:srgbClr val="C1C139"/>
      </a:accent3>
      <a:accent4>
        <a:srgbClr val="118E97"/>
      </a:accent4>
      <a:accent5>
        <a:srgbClr val="F9BD03"/>
      </a:accent5>
      <a:accent6>
        <a:srgbClr val="407026"/>
      </a:accent6>
      <a:hlink>
        <a:srgbClr val="3C3D3E"/>
      </a:hlink>
      <a:folHlink>
        <a:srgbClr val="999683"/>
      </a:folHlink>
    </a:clrScheme>
    <a:fontScheme name="Modern Swiss">
      <a:majorFont>
        <a:latin typeface="Arial"/>
        <a:ea typeface=""/>
        <a:cs typeface=""/>
      </a:majorFont>
      <a:minorFont>
        <a:latin typeface="Microsoft New Tai L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c5611b894cf49d8aeeb8ebf39dc09bc xmlns="63134daf-f59e-4db7-a35c-450a99b2ffd7">
      <Terms xmlns="http://schemas.microsoft.com/office/infopath/2007/PartnerControls">
        <TermInfo xmlns="http://schemas.microsoft.com/office/infopath/2007/PartnerControls">
          <TermName xmlns="http://schemas.microsoft.com/office/infopath/2007/PartnerControls">UNCLASSIFIED</TermName>
          <TermId xmlns="http://schemas.microsoft.com/office/infopath/2007/PartnerControls">9c49a7c7-17c7-412f-8077-62dec89b9196</TermId>
        </TermInfo>
      </Terms>
    </mc5611b894cf49d8aeeb8ebf39dc09bc>
    <ShareHubID xmlns="63134daf-f59e-4db7-a35c-450a99b2ffd7">DOC19-11851</ShareHubID>
    <TaxCatchAll xmlns="63134daf-f59e-4db7-a35c-450a99b2ffd7">
      <Value>1</Value>
    </TaxCatchAll>
    <PMCNotes xmlns="63134daf-f59e-4db7-a35c-450a99b2ffd7" xsi:nil="true"/>
    <jf43624ff82d476f950aa6325c587b1a xmlns="63134daf-f59e-4db7-a35c-450a99b2ffd7">
      <Terms xmlns="http://schemas.microsoft.com/office/infopath/2007/PartnerControls"/>
    </jf43624ff82d476f950aa6325c587b1a>
    <NonRecordJustification xmlns="685f9fda-bd71-4433-b331-92feb9553089">None</NonRecordJustification>
    <jd1c641577414dfdab1686c9d5d0dbd0 xmlns="63134daf-f59e-4db7-a35c-450a99b2ffd7">
      <Terms xmlns="http://schemas.microsoft.com/office/infopath/2007/PartnerControls"/>
    </jd1c641577414dfdab1686c9d5d0dbd0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MC Document" ma:contentTypeID="0x0101002825A64A6E1845A99A9D8EE8A5686ECB00EA40AC8314B62849863C79CB39A7E8FA" ma:contentTypeVersion="11" ma:contentTypeDescription="PMC Document" ma:contentTypeScope="" ma:versionID="eadea53713e241ab11bd003c759a383e">
  <xsd:schema xmlns:xsd="http://www.w3.org/2001/XMLSchema" xmlns:xs="http://www.w3.org/2001/XMLSchema" xmlns:p="http://schemas.microsoft.com/office/2006/metadata/properties" xmlns:ns1="63134daf-f59e-4db7-a35c-450a99b2ffd7" xmlns:ns3="685f9fda-bd71-4433-b331-92feb9553089" targetNamespace="http://schemas.microsoft.com/office/2006/metadata/properties" ma:root="true" ma:fieldsID="402bd145446d5de8019a4c6cdf5d6a3c" ns1:_="" ns3:_="">
    <xsd:import namespace="63134daf-f59e-4db7-a35c-450a99b2ffd7"/>
    <xsd:import namespace="685f9fda-bd71-4433-b331-92feb9553089"/>
    <xsd:element name="properties">
      <xsd:complexType>
        <xsd:sequence>
          <xsd:element name="documentManagement">
            <xsd:complexType>
              <xsd:all>
                <xsd:element ref="ns1:ShareHubID" minOccurs="0"/>
                <xsd:element ref="ns3:NonRecordJustification"/>
                <xsd:element ref="ns1:PMCNotes" minOccurs="0"/>
                <xsd:element ref="ns1:mc5611b894cf49d8aeeb8ebf39dc09bc" minOccurs="0"/>
                <xsd:element ref="ns1:TaxCatchAll" minOccurs="0"/>
                <xsd:element ref="ns1:TaxCatchAllLabel" minOccurs="0"/>
                <xsd:element ref="ns1:jd1c641577414dfdab1686c9d5d0dbd0" minOccurs="0"/>
                <xsd:element ref="ns1:SharedWithUsers" minOccurs="0"/>
                <xsd:element ref="ns1:jf43624ff82d476f950aa6325c587b1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34daf-f59e-4db7-a35c-450a99b2ffd7" elementFormDefault="qualified">
    <xsd:import namespace="http://schemas.microsoft.com/office/2006/documentManagement/types"/>
    <xsd:import namespace="http://schemas.microsoft.com/office/infopath/2007/PartnerControls"/>
    <xsd:element name="ShareHubID" ma:index="0" nillable="true" ma:displayName="Record ID" ma:indexed="true" ma:internalName="ShareHubID">
      <xsd:simpleType>
        <xsd:restriction base="dms:Text">
          <xsd:maxLength value="255"/>
        </xsd:restriction>
      </xsd:simpleType>
    </xsd:element>
    <xsd:element name="PMCNotes" ma:index="6" nillable="true" ma:displayName="Notes" ma:internalName="PMCNotes">
      <xsd:simpleType>
        <xsd:restriction base="dms:Note">
          <xsd:maxLength value="255"/>
        </xsd:restriction>
      </xsd:simpleType>
    </xsd:element>
    <xsd:element name="mc5611b894cf49d8aeeb8ebf39dc09bc" ma:index="8" ma:taxonomy="true" ma:internalName="mc5611b894cf49d8aeeb8ebf39dc09bc" ma:taxonomyFieldName="HPRMSecurityLevel" ma:displayName="Security Level" ma:default="1;#UNCLASSIFIED|9c49a7c7-17c7-412f-8077-62dec89b9196" ma:fieldId="{6c5611b8-94cf-49d8-aeeb-8ebf39dc09bc}" ma:sspId="fdd71c70-8dda-4116-8995-314ca52d638a" ma:termSetId="ad616a2a-2f34-42df-868f-846f11d5d89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916cc00d-7fb9-4d4c-8c6f-1d7c7535a8e8}" ma:internalName="TaxCatchAll" ma:showField="CatchAllData" ma:web="63134daf-f59e-4db7-a35c-450a99b2ff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916cc00d-7fb9-4d4c-8c6f-1d7c7535a8e8}" ma:internalName="TaxCatchAllLabel" ma:readOnly="true" ma:showField="CatchAllDataLabel" ma:web="63134daf-f59e-4db7-a35c-450a99b2ff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d1c641577414dfdab1686c9d5d0dbd0" ma:index="12" nillable="true" ma:taxonomy="true" ma:internalName="jd1c641577414dfdab1686c9d5d0dbd0" ma:taxonomyFieldName="HPRMSecurityCaveat" ma:displayName="DLM" ma:fieldId="{3d1c6415-7741-4dfd-ab16-86c9d5d0dbd0}" ma:taxonomyMulti="true" ma:sspId="fdd71c70-8dda-4116-8995-314ca52d638a" ma:termSetId="4779c3b8-a320-4a06-b8c8-666ff4292a5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f43624ff82d476f950aa6325c587b1a" ma:index="18" nillable="true" ma:taxonomy="true" ma:internalName="jf43624ff82d476f950aa6325c587b1a" ma:taxonomyFieldName="ESearchTags" ma:displayName="Tags" ma:fieldId="{3f43624f-f82d-476f-950a-a6325c587b1a}" ma:taxonomyMulti="true" ma:sspId="fdd71c70-8dda-4116-8995-314ca52d638a" ma:termSetId="8f252924-ebd5-4b35-b39d-81596a6204b5" ma:anchorId="00000000-0000-0000-0000-000000000000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5f9fda-bd71-4433-b331-92feb9553089" elementFormDefault="qualified">
    <xsd:import namespace="http://schemas.microsoft.com/office/2006/documentManagement/types"/>
    <xsd:import namespace="http://schemas.microsoft.com/office/infopath/2007/PartnerControls"/>
    <xsd:element name="NonRecordJustification" ma:index="5" ma:displayName="Non-record justification" ma:default="None" ma:format="Dropdown" ma:internalName="NonRecordJustification">
      <xsd:simpleType>
        <xsd:restriction base="dms:Choice">
          <xsd:enumeration value="None"/>
          <xsd:enumeration value="Not defined as a record under the Archives Act of 1983"/>
          <xsd:enumeration value="Duplicate or low value item"/>
          <xsd:enumeration value="Superced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1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52F360-E397-4EBD-94CA-FB3A4D6F2B14}">
  <ds:schemaRefs>
    <ds:schemaRef ds:uri="http://schemas.microsoft.com/office/2006/documentManagement/types"/>
    <ds:schemaRef ds:uri="http://purl.org/dc/elements/1.1/"/>
    <ds:schemaRef ds:uri="685f9fda-bd71-4433-b331-92feb9553089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terms/"/>
    <ds:schemaRef ds:uri="63134daf-f59e-4db7-a35c-450a99b2ffd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B85DE1C-25FD-4CFF-BBB0-55DBF9BA15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134daf-f59e-4db7-a35c-450a99b2ffd7"/>
    <ds:schemaRef ds:uri="685f9fda-bd71-4433-b331-92feb955308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1A4E8C-81D5-452F-8775-E82665F0CB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21</TotalTime>
  <Words>1130</Words>
  <Application>Microsoft Office PowerPoint</Application>
  <PresentationFormat>On-screen Show (4:3)</PresentationFormat>
  <Paragraphs>168</Paragraphs>
  <Slides>13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orbel</vt:lpstr>
      <vt:lpstr>Microsoft New Tai Lue</vt:lpstr>
      <vt:lpstr>Modern Swiss</vt:lpstr>
      <vt:lpstr>Public Trust and Social Cohesion </vt:lpstr>
      <vt:lpstr>Overview</vt:lpstr>
      <vt:lpstr>What is social cohesion?  </vt:lpstr>
      <vt:lpstr>Social cohesion in Canada and Australia – at a glance </vt:lpstr>
      <vt:lpstr>Public trust and perceptions</vt:lpstr>
      <vt:lpstr>Public trust and perceptions (cont.)</vt:lpstr>
      <vt:lpstr>Public trust and perceptions (cont.)</vt:lpstr>
      <vt:lpstr>Public trust and perceptions (cont.)</vt:lpstr>
      <vt:lpstr>Public trust and perceptions (cont.)</vt:lpstr>
      <vt:lpstr>Actions underway</vt:lpstr>
      <vt:lpstr>Challenges and opportunities </vt:lpstr>
      <vt:lpstr>Areas for government action </vt:lpstr>
      <vt:lpstr>Discus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uarte;Inc. 2014</dc:creator>
  <cp:lastModifiedBy>Busby, Jason</cp:lastModifiedBy>
  <cp:revision>357</cp:revision>
  <cp:lastPrinted>2019-01-14T03:14:16Z</cp:lastPrinted>
  <dcterms:created xsi:type="dcterms:W3CDTF">2014-02-07T03:47:22Z</dcterms:created>
  <dcterms:modified xsi:type="dcterms:W3CDTF">2019-01-24T14:2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166664</vt:lpwstr>
  </property>
  <property fmtid="{D5CDD505-2E9C-101B-9397-08002B2CF9AE}" pid="3" name="NXPowerLiteSettings">
    <vt:lpwstr>F980073804F000</vt:lpwstr>
  </property>
  <property fmtid="{D5CDD505-2E9C-101B-9397-08002B2CF9AE}" pid="4" name="NXPowerLiteVersion">
    <vt:lpwstr>D5.0.2</vt:lpwstr>
  </property>
  <property fmtid="{D5CDD505-2E9C-101B-9397-08002B2CF9AE}" pid="5" name="HPRMSecurityLevel">
    <vt:lpwstr>1;#UNCLASSIFIED|9c49a7c7-17c7-412f-8077-62dec89b9196</vt:lpwstr>
  </property>
  <property fmtid="{D5CDD505-2E9C-101B-9397-08002B2CF9AE}" pid="6" name="ContentTypeId">
    <vt:lpwstr>0x0101002825A64A6E1845A99A9D8EE8A5686ECB00EA40AC8314B62849863C79CB39A7E8FA</vt:lpwstr>
  </property>
  <property fmtid="{D5CDD505-2E9C-101B-9397-08002B2CF9AE}" pid="7" name="ESearchTags">
    <vt:lpwstr/>
  </property>
  <property fmtid="{D5CDD505-2E9C-101B-9397-08002B2CF9AE}" pid="8" name="PMC.ESearch.TagGeneratedTime">
    <vt:lpwstr>2019-01-21T11:03:51</vt:lpwstr>
  </property>
  <property fmtid="{D5CDD505-2E9C-101B-9397-08002B2CF9AE}" pid="9" name="HPRMSecurityCaveat">
    <vt:lpwstr/>
  </property>
</Properties>
</file>